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4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5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6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7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8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9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10.xml" ContentType="application/vnd.openxmlformats-officedocument.theme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11.xml" ContentType="application/vnd.openxmlformats-officedocument.theme+xml"/>
  <Override PartName="/ppt/slideLayouts/slideLayout66.xml" ContentType="application/vnd.openxmlformats-officedocument.presentationml.slideLayout+xml"/>
  <Override PartName="/ppt/theme/theme12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1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14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15.xml" ContentType="application/vnd.openxmlformats-officedocument.theme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16.xml" ContentType="application/vnd.openxmlformats-officedocument.theme+xml"/>
  <Override PartName="/ppt/theme/theme17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2.xml" ContentType="application/vnd.openxmlformats-officedocument.themeOverride+xml"/>
  <Override PartName="/ppt/drawings/drawing1.xml" ContentType="application/vnd.openxmlformats-officedocument.drawingml.chartshapes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theme/themeOverride5.xml" ContentType="application/vnd.openxmlformats-officedocument.themeOverride+xml"/>
  <Override PartName="/ppt/notesSlides/notesSlide4.xml" ContentType="application/vnd.openxmlformats-officedocument.presentationml.notesSlide+xml"/>
  <Override PartName="/ppt/theme/themeOverride6.xml" ContentType="application/vnd.openxmlformats-officedocument.themeOverr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4"/>
    <p:sldMasterId id="2147483687" r:id="rId5"/>
    <p:sldMasterId id="2147483668" r:id="rId6"/>
    <p:sldMasterId id="2147483658" r:id="rId7"/>
    <p:sldMasterId id="2147483678" r:id="rId8"/>
    <p:sldMasterId id="2147483691" r:id="rId9"/>
    <p:sldMasterId id="2147483700" r:id="rId10"/>
    <p:sldMasterId id="2147483713" r:id="rId11"/>
    <p:sldMasterId id="2147484017" r:id="rId12"/>
    <p:sldMasterId id="2147484023" r:id="rId13"/>
    <p:sldMasterId id="2147484043" r:id="rId14"/>
    <p:sldMasterId id="2147484046" r:id="rId15"/>
    <p:sldMasterId id="2147484048" r:id="rId16"/>
    <p:sldMasterId id="2147484069" r:id="rId17"/>
    <p:sldMasterId id="2147484072" r:id="rId18"/>
    <p:sldMasterId id="2147484084" r:id="rId19"/>
  </p:sldMasterIdLst>
  <p:notesMasterIdLst>
    <p:notesMasterId r:id="rId33"/>
  </p:notesMasterIdLst>
  <p:sldIdLst>
    <p:sldId id="599" r:id="rId20"/>
    <p:sldId id="3326" r:id="rId21"/>
    <p:sldId id="4510" r:id="rId22"/>
    <p:sldId id="4473" r:id="rId23"/>
    <p:sldId id="4640" r:id="rId24"/>
    <p:sldId id="2147375498" r:id="rId25"/>
    <p:sldId id="2147375487" r:id="rId26"/>
    <p:sldId id="2147375495" r:id="rId27"/>
    <p:sldId id="2147375501" r:id="rId28"/>
    <p:sldId id="4636" r:id="rId29"/>
    <p:sldId id="2147375497" r:id="rId30"/>
    <p:sldId id="3311" r:id="rId31"/>
    <p:sldId id="2147375493" r:id="rId32"/>
  </p:sldIdLst>
  <p:sldSz cx="12192000" cy="6858000"/>
  <p:notesSz cx="6808788" cy="9940925"/>
  <p:defaultTextStyle>
    <a:defPPr>
      <a:defRPr lang="LID4096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HY, Mary" initials="MM" lastIdx="5" clrIdx="0">
    <p:extLst>
      <p:ext uri="{19B8F6BF-5375-455C-9EA6-DF929625EA0E}">
        <p15:presenceInfo xmlns:p15="http://schemas.microsoft.com/office/powerpoint/2012/main" userId="S::mahym@unaids.org::0afd4db8-d624-4195-ad74-d950010a3c7a" providerId="AD"/>
      </p:ext>
    </p:extLst>
  </p:cmAuthor>
  <p:cmAuthor id="2" name="Efren Estacio" initials="EE" lastIdx="1" clrIdx="1">
    <p:extLst>
      <p:ext uri="{19B8F6BF-5375-455C-9EA6-DF929625EA0E}">
        <p15:presenceInfo xmlns:p15="http://schemas.microsoft.com/office/powerpoint/2012/main" userId="S::fadriquelae@unaids.org::ff09a34f-060c-4ed2-b93c-daeb0194dac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BC4"/>
    <a:srgbClr val="C6E4E2"/>
    <a:srgbClr val="D8D085"/>
    <a:srgbClr val="79CDF4"/>
    <a:srgbClr val="6ECBC3"/>
    <a:srgbClr val="00A296"/>
    <a:srgbClr val="C2B9B3"/>
    <a:srgbClr val="7DC7C0"/>
    <a:srgbClr val="CDC984"/>
    <a:srgbClr val="6AAA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759146B-8B3D-407C-B011-481BF690A78C}" v="27" dt="2023-10-04T05:40:32.23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74" autoAdjust="0"/>
    <p:restoredTop sz="94660"/>
  </p:normalViewPr>
  <p:slideViewPr>
    <p:cSldViewPr snapToGrid="0">
      <p:cViewPr varScale="1">
        <p:scale>
          <a:sx n="77" d="100"/>
          <a:sy n="77" d="100"/>
        </p:scale>
        <p:origin x="200" y="760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1324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7.xml"/><Relationship Id="rId39" Type="http://schemas.microsoft.com/office/2015/10/relationships/revisionInfo" Target="revisionInfo.xml"/><Relationship Id="rId21" Type="http://schemas.openxmlformats.org/officeDocument/2006/relationships/slide" Target="slides/slide2.xml"/><Relationship Id="rId34" Type="http://schemas.openxmlformats.org/officeDocument/2006/relationships/commentAuthors" Target="commentAuthor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6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1.xml"/><Relationship Id="rId29" Type="http://schemas.openxmlformats.org/officeDocument/2006/relationships/slide" Target="slides/slide10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5.xml"/><Relationship Id="rId32" Type="http://schemas.openxmlformats.org/officeDocument/2006/relationships/slide" Target="slides/slide13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4.xml"/><Relationship Id="rId28" Type="http://schemas.openxmlformats.org/officeDocument/2006/relationships/slide" Target="slides/slide9.xml"/><Relationship Id="rId36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3.xml"/><Relationship Id="rId27" Type="http://schemas.openxmlformats.org/officeDocument/2006/relationships/slide" Target="slides/slide8.xml"/><Relationship Id="rId30" Type="http://schemas.openxmlformats.org/officeDocument/2006/relationships/slide" Target="slides/slide11.xml"/><Relationship Id="rId35" Type="http://schemas.openxmlformats.org/officeDocument/2006/relationships/presProps" Target="presProp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3.xml"/><Relationship Id="rId1" Type="http://schemas.microsoft.com/office/2011/relationships/chartStyle" Target="style3.xml"/><Relationship Id="rId5" Type="http://schemas.openxmlformats.org/officeDocument/2006/relationships/chartUserShapes" Target="../drawings/drawing1.xml"/><Relationship Id="rId4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0071738174996673E-2"/>
          <c:y val="4.6615464425426675E-2"/>
          <c:w val="0.93494199849816628"/>
          <c:h val="0.845218235244130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en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0" i="0" u="none" strike="noStrike" kern="1200" baseline="0">
                    <a:solidFill>
                      <a:schemeClr val="tx1"/>
                    </a:solidFill>
                    <a:latin typeface="Poppins" pitchFamily="2" charset="77"/>
                    <a:ea typeface="+mn-ea"/>
                    <a:cs typeface="Poppins" pitchFamily="2" charset="77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Percentage of people living with HIV who know their status</c:v>
                </c:pt>
                <c:pt idx="1">
                  <c:v>Coverage of people living with HIV who are on treatment</c:v>
                </c:pt>
                <c:pt idx="2">
                  <c:v>Percent of people living with HIV who are virally suppressed</c:v>
                </c:pt>
              </c:strCache>
            </c:strRef>
          </c:cat>
          <c:val>
            <c:numRef>
              <c:f>Sheet1!$B$2:$B$4</c:f>
              <c:numCache>
                <c:formatCode>0</c:formatCode>
                <c:ptCount val="3"/>
                <c:pt idx="0">
                  <c:v>82</c:v>
                </c:pt>
                <c:pt idx="1">
                  <c:v>70</c:v>
                </c:pt>
                <c:pt idx="2">
                  <c:v>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F14-B64C-BDA6-30707F341BC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Wome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0" i="0" u="none" strike="noStrike" kern="1200" baseline="0">
                    <a:solidFill>
                      <a:schemeClr val="bg2">
                        <a:lumMod val="75000"/>
                      </a:schemeClr>
                    </a:solidFill>
                    <a:latin typeface="Poppins" pitchFamily="2" charset="77"/>
                    <a:ea typeface="+mn-ea"/>
                    <a:cs typeface="Poppins" pitchFamily="2" charset="77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Percentage of people living with HIV who know their status</c:v>
                </c:pt>
                <c:pt idx="1">
                  <c:v>Coverage of people living with HIV who are on treatment</c:v>
                </c:pt>
                <c:pt idx="2">
                  <c:v>Percent of people living with HIV who are virally suppressed</c:v>
                </c:pt>
              </c:strCache>
            </c:strRef>
          </c:cat>
          <c:val>
            <c:numRef>
              <c:f>Sheet1!$C$2:$C$4</c:f>
              <c:numCache>
                <c:formatCode>0</c:formatCode>
                <c:ptCount val="3"/>
                <c:pt idx="0">
                  <c:v>89</c:v>
                </c:pt>
                <c:pt idx="1">
                  <c:v>80</c:v>
                </c:pt>
                <c:pt idx="2">
                  <c:v>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F14-B64C-BDA6-30707F341B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axId val="100367008"/>
        <c:axId val="100368240"/>
      </c:barChart>
      <c:catAx>
        <c:axId val="100367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accent4"/>
                </a:solidFill>
                <a:latin typeface="Poppins" pitchFamily="2" charset="77"/>
                <a:ea typeface="+mn-ea"/>
                <a:cs typeface="Poppins" pitchFamily="2" charset="77"/>
              </a:defRPr>
            </a:pPr>
            <a:endParaRPr lang="en-US"/>
          </a:p>
        </c:txPr>
        <c:crossAx val="100368240"/>
        <c:crosses val="autoZero"/>
        <c:auto val="1"/>
        <c:lblAlgn val="ctr"/>
        <c:lblOffset val="100"/>
        <c:noMultiLvlLbl val="0"/>
      </c:catAx>
      <c:valAx>
        <c:axId val="1003682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400" b="0" i="0" u="none" strike="noStrike" kern="1200" baseline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pPr>
            <a:endParaRPr lang="en-US"/>
          </a:p>
        </c:txPr>
        <c:crossAx val="100367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2400" b="0" i="0">
          <a:solidFill>
            <a:schemeClr val="tx1"/>
          </a:solidFill>
          <a:latin typeface="Poppins" pitchFamily="2" charset="77"/>
          <a:cs typeface="Poppins" pitchFamily="2" charset="77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smooth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en</c:v>
                </c:pt>
              </c:strCache>
            </c:strRef>
          </c:tx>
          <c:spPr>
            <a:ln w="101600" cap="rnd">
              <a:solidFill>
                <a:schemeClr val="accent1"/>
              </a:solidFill>
              <a:prstDash val="lgDash"/>
              <a:round/>
            </a:ln>
            <a:effectLst/>
          </c:spPr>
          <c:marker>
            <c:symbol val="none"/>
          </c:marker>
          <c:xVal>
            <c:numRef>
              <c:f>Sheet1!$A$2:$A$11</c:f>
              <c:numCache>
                <c:formatCode>0</c:formatCode>
                <c:ptCount val="10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</c:numCache>
            </c:numRef>
          </c:xVal>
          <c:yVal>
            <c:numRef>
              <c:f>Sheet1!$B$2:$B$11</c:f>
              <c:numCache>
                <c:formatCode>General</c:formatCode>
                <c:ptCount val="10"/>
                <c:pt idx="0">
                  <c:v>25</c:v>
                </c:pt>
                <c:pt idx="1">
                  <c:v>29</c:v>
                </c:pt>
                <c:pt idx="2">
                  <c:v>33</c:v>
                </c:pt>
                <c:pt idx="3">
                  <c:v>37</c:v>
                </c:pt>
                <c:pt idx="4">
                  <c:v>41</c:v>
                </c:pt>
                <c:pt idx="5">
                  <c:v>45</c:v>
                </c:pt>
                <c:pt idx="6">
                  <c:v>50</c:v>
                </c:pt>
                <c:pt idx="7">
                  <c:v>54</c:v>
                </c:pt>
                <c:pt idx="8">
                  <c:v>59</c:v>
                </c:pt>
                <c:pt idx="9">
                  <c:v>63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419E-424C-8E80-D698A3D95E6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Women</c:v>
                </c:pt>
              </c:strCache>
            </c:strRef>
          </c:tx>
          <c:spPr>
            <a:ln w="101600" cap="rnd">
              <a:solidFill>
                <a:schemeClr val="accent2"/>
              </a:solidFill>
              <a:prstDash val="lgDash"/>
              <a:round/>
            </a:ln>
            <a:effectLst/>
          </c:spPr>
          <c:marker>
            <c:symbol val="none"/>
          </c:marker>
          <c:xVal>
            <c:numRef>
              <c:f>Sheet1!$A$2:$A$11</c:f>
              <c:numCache>
                <c:formatCode>0</c:formatCode>
                <c:ptCount val="10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</c:numCache>
            </c:numRef>
          </c:xVal>
          <c:yVal>
            <c:numRef>
              <c:f>Sheet1!$C$2:$C$11</c:f>
              <c:numCache>
                <c:formatCode>General</c:formatCode>
                <c:ptCount val="10"/>
                <c:pt idx="0">
                  <c:v>27</c:v>
                </c:pt>
                <c:pt idx="1">
                  <c:v>32</c:v>
                </c:pt>
                <c:pt idx="2">
                  <c:v>38</c:v>
                </c:pt>
                <c:pt idx="3">
                  <c:v>44</c:v>
                </c:pt>
                <c:pt idx="4">
                  <c:v>50</c:v>
                </c:pt>
                <c:pt idx="5">
                  <c:v>55</c:v>
                </c:pt>
                <c:pt idx="6">
                  <c:v>61</c:v>
                </c:pt>
                <c:pt idx="7">
                  <c:v>66</c:v>
                </c:pt>
                <c:pt idx="8">
                  <c:v>70</c:v>
                </c:pt>
                <c:pt idx="9">
                  <c:v>7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419E-424C-8E80-D698A3D95E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18500648"/>
        <c:axId val="618496384"/>
      </c:scatterChart>
      <c:valAx>
        <c:axId val="618500648"/>
        <c:scaling>
          <c:orientation val="minMax"/>
          <c:min val="2010"/>
        </c:scaling>
        <c:delete val="0"/>
        <c:axPos val="b"/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sz="1600" b="0" i="0" u="none" strike="noStrike" kern="1200" baseline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pPr>
            <a:endParaRPr lang="en-US"/>
          </a:p>
        </c:txPr>
        <c:crossAx val="618496384"/>
        <c:crossesAt val="0"/>
        <c:crossBetween val="midCat"/>
      </c:valAx>
      <c:valAx>
        <c:axId val="618496384"/>
        <c:scaling>
          <c:orientation val="minMax"/>
        </c:scaling>
        <c:delete val="0"/>
        <c:axPos val="l"/>
        <c:majorGridlines>
          <c:spPr>
            <a:ln w="25400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sz="1600" b="0" i="0" u="none" strike="noStrike" kern="1200" baseline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pPr>
            <a:endParaRPr lang="en-US"/>
          </a:p>
        </c:txPr>
        <c:crossAx val="618500648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 b="0" i="0">
          <a:solidFill>
            <a:schemeClr val="tx1"/>
          </a:solidFill>
          <a:latin typeface="Poppins" pitchFamily="2" charset="77"/>
          <a:cs typeface="Poppins" pitchFamily="2" charset="77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overage (%) of men</a:t>
            </a:r>
            <a:r>
              <a:rPr lang="en-US" baseline="0"/>
              <a:t> and women receiving ART across regions in 2021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3.6121140607361948E-2"/>
          <c:y val="9.0948395652808753E-2"/>
          <c:w val="0.94995160353359509"/>
          <c:h val="0.7809504163496542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F$10</c:f>
              <c:strCache>
                <c:ptCount val="1"/>
                <c:pt idx="0">
                  <c:v>Men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E$11:$E$18</c:f>
              <c:strCache>
                <c:ptCount val="8"/>
                <c:pt idx="0">
                  <c:v>Asia Pacific</c:v>
                </c:pt>
                <c:pt idx="1">
                  <c:v>Caribbean</c:v>
                </c:pt>
                <c:pt idx="2">
                  <c:v>Eastern and Southern Africa</c:v>
                </c:pt>
                <c:pt idx="3">
                  <c:v>Eastern Europe and Central Asia</c:v>
                </c:pt>
                <c:pt idx="4">
                  <c:v>Latin America</c:v>
                </c:pt>
                <c:pt idx="5">
                  <c:v>Middle East and North Africa</c:v>
                </c:pt>
                <c:pt idx="6">
                  <c:v>West and Central Africa</c:v>
                </c:pt>
                <c:pt idx="7">
                  <c:v>West and Central Europe and North America</c:v>
                </c:pt>
              </c:strCache>
            </c:strRef>
          </c:cat>
          <c:val>
            <c:numRef>
              <c:f>Sheet1!$F$11:$F$18</c:f>
              <c:numCache>
                <c:formatCode>0</c:formatCode>
                <c:ptCount val="8"/>
                <c:pt idx="0">
                  <c:v>65</c:v>
                </c:pt>
                <c:pt idx="1">
                  <c:v>64</c:v>
                </c:pt>
                <c:pt idx="2">
                  <c:v>74</c:v>
                </c:pt>
                <c:pt idx="3">
                  <c:v>44</c:v>
                </c:pt>
                <c:pt idx="4">
                  <c:v>69</c:v>
                </c:pt>
                <c:pt idx="5">
                  <c:v>52</c:v>
                </c:pt>
                <c:pt idx="6">
                  <c:v>75</c:v>
                </c:pt>
                <c:pt idx="7">
                  <c:v>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EE6-44CB-8ADE-08240C02581F}"/>
            </c:ext>
          </c:extLst>
        </c:ser>
        <c:ser>
          <c:idx val="1"/>
          <c:order val="1"/>
          <c:tx>
            <c:strRef>
              <c:f>Sheet1!$G$10</c:f>
              <c:strCache>
                <c:ptCount val="1"/>
                <c:pt idx="0">
                  <c:v>Wome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E$11:$E$18</c:f>
              <c:strCache>
                <c:ptCount val="8"/>
                <c:pt idx="0">
                  <c:v>Asia Pacific</c:v>
                </c:pt>
                <c:pt idx="1">
                  <c:v>Caribbean</c:v>
                </c:pt>
                <c:pt idx="2">
                  <c:v>Eastern and Southern Africa</c:v>
                </c:pt>
                <c:pt idx="3">
                  <c:v>Eastern Europe and Central Asia</c:v>
                </c:pt>
                <c:pt idx="4">
                  <c:v>Latin America</c:v>
                </c:pt>
                <c:pt idx="5">
                  <c:v>Middle East and North Africa</c:v>
                </c:pt>
                <c:pt idx="6">
                  <c:v>West and Central Africa</c:v>
                </c:pt>
                <c:pt idx="7">
                  <c:v>West and Central Europe and North America</c:v>
                </c:pt>
              </c:strCache>
            </c:strRef>
          </c:cat>
          <c:val>
            <c:numRef>
              <c:f>Sheet1!$G$11:$G$18</c:f>
              <c:numCache>
                <c:formatCode>0</c:formatCode>
                <c:ptCount val="8"/>
                <c:pt idx="0">
                  <c:v>67</c:v>
                </c:pt>
                <c:pt idx="1">
                  <c:v>77</c:v>
                </c:pt>
                <c:pt idx="2">
                  <c:v>82</c:v>
                </c:pt>
                <c:pt idx="3">
                  <c:v>62</c:v>
                </c:pt>
                <c:pt idx="4">
                  <c:v>72</c:v>
                </c:pt>
                <c:pt idx="5">
                  <c:v>47</c:v>
                </c:pt>
                <c:pt idx="6">
                  <c:v>86</c:v>
                </c:pt>
                <c:pt idx="7">
                  <c:v>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EE6-44CB-8ADE-08240C02581F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788941952"/>
        <c:axId val="788941120"/>
      </c:barChart>
      <c:catAx>
        <c:axId val="788941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88941120"/>
        <c:crosses val="autoZero"/>
        <c:auto val="1"/>
        <c:lblAlgn val="ctr"/>
        <c:lblOffset val="100"/>
        <c:noMultiLvlLbl val="0"/>
      </c:catAx>
      <c:valAx>
        <c:axId val="7889411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889419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  <c:userShapes r:id="rId5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2AB8846-68CF-4381-8BCE-EBCF26EADB1C}" type="doc">
      <dgm:prSet loTypeId="urn:microsoft.com/office/officeart/2005/8/layout/cycle4" loCatId="matrix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B57C01EE-78A1-4DD6-ADAE-36A7328A31F0}">
      <dgm:prSet phldrT="[Text]"/>
      <dgm:spPr/>
      <dgm:t>
        <a:bodyPr/>
        <a:lstStyle/>
        <a:p>
          <a:r>
            <a:rPr lang="en-US" dirty="0"/>
            <a:t>Viral suppression and transmission dynamics</a:t>
          </a:r>
        </a:p>
      </dgm:t>
    </dgm:pt>
    <dgm:pt modelId="{8B2E3520-5733-4539-B160-81898E03E606}" type="parTrans" cxnId="{B19F1355-0947-4694-9868-3382CC7980F9}">
      <dgm:prSet/>
      <dgm:spPr/>
      <dgm:t>
        <a:bodyPr/>
        <a:lstStyle/>
        <a:p>
          <a:endParaRPr lang="en-US"/>
        </a:p>
      </dgm:t>
    </dgm:pt>
    <dgm:pt modelId="{A7105266-5C17-4515-A5AA-4EEBCF87C308}" type="sibTrans" cxnId="{B19F1355-0947-4694-9868-3382CC7980F9}">
      <dgm:prSet/>
      <dgm:spPr/>
      <dgm:t>
        <a:bodyPr/>
        <a:lstStyle/>
        <a:p>
          <a:endParaRPr lang="en-US"/>
        </a:p>
      </dgm:t>
    </dgm:pt>
    <dgm:pt modelId="{2E15FCDA-9540-4598-ACEC-93DE349BD479}">
      <dgm:prSet phldrT="[Text]"/>
      <dgm:spPr/>
      <dgm:t>
        <a:bodyPr/>
        <a:lstStyle/>
        <a:p>
          <a:r>
            <a:rPr lang="en-US" b="1" dirty="0">
              <a:solidFill>
                <a:schemeClr val="tx1"/>
              </a:solidFill>
            </a:rPr>
            <a:t>Advanced HIV disease and transmission risk</a:t>
          </a:r>
        </a:p>
      </dgm:t>
    </dgm:pt>
    <dgm:pt modelId="{44F2D9D8-66DF-4DF0-9A07-F0610F521E66}" type="parTrans" cxnId="{A5722B86-69C1-45D6-8C07-328F29C23C45}">
      <dgm:prSet/>
      <dgm:spPr/>
      <dgm:t>
        <a:bodyPr/>
        <a:lstStyle/>
        <a:p>
          <a:endParaRPr lang="en-US"/>
        </a:p>
      </dgm:t>
    </dgm:pt>
    <dgm:pt modelId="{6A93C49F-8F48-49FB-8304-24383307A517}" type="sibTrans" cxnId="{A5722B86-69C1-45D6-8C07-328F29C23C45}">
      <dgm:prSet/>
      <dgm:spPr/>
      <dgm:t>
        <a:bodyPr/>
        <a:lstStyle/>
        <a:p>
          <a:endParaRPr lang="en-US"/>
        </a:p>
      </dgm:t>
    </dgm:pt>
    <dgm:pt modelId="{524D7A91-E9FA-471C-BDEB-768E0718178A}">
      <dgm:prSet phldrT="[Text]"/>
      <dgm:spPr/>
      <dgm:t>
        <a:bodyPr/>
        <a:lstStyle/>
        <a:p>
          <a:r>
            <a:rPr lang="en-US" dirty="0"/>
            <a:t>New infections</a:t>
          </a:r>
        </a:p>
      </dgm:t>
    </dgm:pt>
    <dgm:pt modelId="{B777D478-E968-404C-853F-ED662EC5296D}" type="parTrans" cxnId="{85597954-946D-4DC0-8622-FAE84631FFD6}">
      <dgm:prSet/>
      <dgm:spPr/>
      <dgm:t>
        <a:bodyPr/>
        <a:lstStyle/>
        <a:p>
          <a:endParaRPr lang="en-US"/>
        </a:p>
      </dgm:t>
    </dgm:pt>
    <dgm:pt modelId="{4B241E9F-503E-460F-AD6A-A65E02007C4E}" type="sibTrans" cxnId="{85597954-946D-4DC0-8622-FAE84631FFD6}">
      <dgm:prSet/>
      <dgm:spPr/>
      <dgm:t>
        <a:bodyPr/>
        <a:lstStyle/>
        <a:p>
          <a:endParaRPr lang="en-US"/>
        </a:p>
      </dgm:t>
    </dgm:pt>
    <dgm:pt modelId="{D8FC351F-FB09-4568-A55F-E9E45713CB33}">
      <dgm:prSet phldrT="[Text]"/>
      <dgm:spPr/>
      <dgm:t>
        <a:bodyPr/>
        <a:lstStyle/>
        <a:p>
          <a:r>
            <a:rPr lang="en-US" b="1" dirty="0">
              <a:solidFill>
                <a:schemeClr val="tx1"/>
              </a:solidFill>
            </a:rPr>
            <a:t>Increasing majority of new infections arising from men, widening pre-existing gender disparity in HIV transmission</a:t>
          </a:r>
        </a:p>
      </dgm:t>
    </dgm:pt>
    <dgm:pt modelId="{F4009AF6-5B03-40FD-9DF2-1BD321CB7BB5}" type="parTrans" cxnId="{94A604F6-A754-4072-B835-FB85332B1517}">
      <dgm:prSet/>
      <dgm:spPr/>
      <dgm:t>
        <a:bodyPr/>
        <a:lstStyle/>
        <a:p>
          <a:endParaRPr lang="en-US"/>
        </a:p>
      </dgm:t>
    </dgm:pt>
    <dgm:pt modelId="{F8F9F254-FA53-474D-8D93-7A029D1F828B}" type="sibTrans" cxnId="{94A604F6-A754-4072-B835-FB85332B1517}">
      <dgm:prSet/>
      <dgm:spPr/>
      <dgm:t>
        <a:bodyPr/>
        <a:lstStyle/>
        <a:p>
          <a:endParaRPr lang="en-US"/>
        </a:p>
      </dgm:t>
    </dgm:pt>
    <dgm:pt modelId="{9FEB598A-A119-4283-AF68-734ABB6E378F}">
      <dgm:prSet phldrT="[Text]"/>
      <dgm:spPr/>
      <dgm:t>
        <a:bodyPr/>
        <a:lstStyle/>
        <a:p>
          <a:r>
            <a:rPr lang="en-US" dirty="0"/>
            <a:t>Intra-community transmission</a:t>
          </a:r>
        </a:p>
      </dgm:t>
    </dgm:pt>
    <dgm:pt modelId="{E39D7720-F002-4572-AD66-1020E9F3F4C7}" type="parTrans" cxnId="{431637D6-B43F-41FE-9A8E-BA136311C1E9}">
      <dgm:prSet/>
      <dgm:spPr/>
      <dgm:t>
        <a:bodyPr/>
        <a:lstStyle/>
        <a:p>
          <a:endParaRPr lang="en-US"/>
        </a:p>
      </dgm:t>
    </dgm:pt>
    <dgm:pt modelId="{46E8B783-610E-4DC8-A7D3-EB228EB5E4DF}" type="sibTrans" cxnId="{431637D6-B43F-41FE-9A8E-BA136311C1E9}">
      <dgm:prSet/>
      <dgm:spPr/>
      <dgm:t>
        <a:bodyPr/>
        <a:lstStyle/>
        <a:p>
          <a:endParaRPr lang="en-US"/>
        </a:p>
      </dgm:t>
    </dgm:pt>
    <dgm:pt modelId="{D10FA92E-067C-459E-B0CF-5457A4E8021D}">
      <dgm:prSet phldrT="[Text]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dirty="0"/>
            <a:t>   </a:t>
          </a:r>
          <a:r>
            <a:rPr lang="en-US" b="1" dirty="0">
              <a:solidFill>
                <a:schemeClr val="tx1"/>
              </a:solidFill>
            </a:rPr>
            <a:t>Large majority of transmissions occurred between partners from the same community</a:t>
          </a:r>
        </a:p>
      </dgm:t>
    </dgm:pt>
    <dgm:pt modelId="{182BD70E-FB4D-4FC2-B23F-9F3122C05A99}" type="parTrans" cxnId="{8A36665B-F82B-41F5-8172-7E8E0F994472}">
      <dgm:prSet/>
      <dgm:spPr/>
      <dgm:t>
        <a:bodyPr/>
        <a:lstStyle/>
        <a:p>
          <a:endParaRPr lang="en-US"/>
        </a:p>
      </dgm:t>
    </dgm:pt>
    <dgm:pt modelId="{5A5A589D-FAEC-44E0-8F64-E161EFC6071F}" type="sibTrans" cxnId="{8A36665B-F82B-41F5-8172-7E8E0F994472}">
      <dgm:prSet/>
      <dgm:spPr/>
      <dgm:t>
        <a:bodyPr/>
        <a:lstStyle/>
        <a:p>
          <a:endParaRPr lang="en-US"/>
        </a:p>
      </dgm:t>
    </dgm:pt>
    <dgm:pt modelId="{3755C5AD-C258-45D4-8291-0A78D1374481}">
      <dgm:prSet phldrT="[Text]"/>
      <dgm:spPr/>
      <dgm:t>
        <a:bodyPr/>
        <a:lstStyle/>
        <a:p>
          <a:r>
            <a:rPr lang="en-US" dirty="0"/>
            <a:t>Increasing transmission flows</a:t>
          </a:r>
        </a:p>
      </dgm:t>
    </dgm:pt>
    <dgm:pt modelId="{7D038071-0385-4CE8-8DC7-00B3E9DBCCF4}" type="parTrans" cxnId="{D733164E-747C-4B98-B924-5EC545392290}">
      <dgm:prSet/>
      <dgm:spPr/>
      <dgm:t>
        <a:bodyPr/>
        <a:lstStyle/>
        <a:p>
          <a:endParaRPr lang="en-US"/>
        </a:p>
      </dgm:t>
    </dgm:pt>
    <dgm:pt modelId="{D9638B98-0CB4-43F7-9E72-4EF0972148C8}" type="sibTrans" cxnId="{D733164E-747C-4B98-B924-5EC545392290}">
      <dgm:prSet/>
      <dgm:spPr/>
      <dgm:t>
        <a:bodyPr/>
        <a:lstStyle/>
        <a:p>
          <a:endParaRPr lang="en-US"/>
        </a:p>
      </dgm:t>
    </dgm:pt>
    <dgm:pt modelId="{65023E90-E087-4B62-9BE6-7997E324B35A}">
      <dgm:prSet phldrT="[Text]"/>
      <dgm:spPr/>
      <dgm:t>
        <a:bodyPr/>
        <a:lstStyle/>
        <a:p>
          <a:r>
            <a:rPr lang="en-US" b="1" dirty="0">
              <a:solidFill>
                <a:schemeClr val="tx1"/>
              </a:solidFill>
            </a:rPr>
            <a:t>Increasing contribution of transmission flows to AGYW by partners aged 25-40 years</a:t>
          </a:r>
        </a:p>
      </dgm:t>
    </dgm:pt>
    <dgm:pt modelId="{5013F218-8D71-451B-9F73-57BEF58D1869}" type="parTrans" cxnId="{0B1DDCDF-3AB4-48E4-83D6-45C06EE61D60}">
      <dgm:prSet/>
      <dgm:spPr/>
      <dgm:t>
        <a:bodyPr/>
        <a:lstStyle/>
        <a:p>
          <a:endParaRPr lang="en-US"/>
        </a:p>
      </dgm:t>
    </dgm:pt>
    <dgm:pt modelId="{7B201B0A-A197-41E2-ABB2-EBB8C7FB42F7}" type="sibTrans" cxnId="{0B1DDCDF-3AB4-48E4-83D6-45C06EE61D60}">
      <dgm:prSet/>
      <dgm:spPr/>
      <dgm:t>
        <a:bodyPr/>
        <a:lstStyle/>
        <a:p>
          <a:endParaRPr lang="en-US"/>
        </a:p>
      </dgm:t>
    </dgm:pt>
    <dgm:pt modelId="{C3BCBE76-8610-4444-B566-382C08CAEB65}">
      <dgm:prSet phldrT="[Text]"/>
      <dgm:spPr/>
      <dgm:t>
        <a:bodyPr/>
        <a:lstStyle/>
        <a:p>
          <a:r>
            <a:rPr lang="en-US" b="1" dirty="0">
              <a:solidFill>
                <a:schemeClr val="tx1"/>
              </a:solidFill>
            </a:rPr>
            <a:t>Viral suppression rates were 1.5-2-fold higher among women than men</a:t>
          </a:r>
        </a:p>
      </dgm:t>
    </dgm:pt>
    <dgm:pt modelId="{BF2EE728-710A-4046-831E-E986CD8738CC}" type="parTrans" cxnId="{280B4704-9618-4E75-A680-F6868A74088C}">
      <dgm:prSet/>
      <dgm:spPr/>
      <dgm:t>
        <a:bodyPr/>
        <a:lstStyle/>
        <a:p>
          <a:endParaRPr lang="en-US"/>
        </a:p>
      </dgm:t>
    </dgm:pt>
    <dgm:pt modelId="{BBEB0821-3B6A-4F8C-B6BE-FF907C3DCF2F}" type="sibTrans" cxnId="{280B4704-9618-4E75-A680-F6868A74088C}">
      <dgm:prSet/>
      <dgm:spPr/>
      <dgm:t>
        <a:bodyPr/>
        <a:lstStyle/>
        <a:p>
          <a:endParaRPr lang="en-US"/>
        </a:p>
      </dgm:t>
    </dgm:pt>
    <dgm:pt modelId="{B24C1EE6-9F3E-4334-B89D-89CF3EF13130}" type="pres">
      <dgm:prSet presAssocID="{02AB8846-68CF-4381-8BCE-EBCF26EADB1C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</dgm:pt>
    <dgm:pt modelId="{19CA33A5-28DD-42DE-AB35-21030B5C0C61}" type="pres">
      <dgm:prSet presAssocID="{02AB8846-68CF-4381-8BCE-EBCF26EADB1C}" presName="children" presStyleCnt="0"/>
      <dgm:spPr/>
    </dgm:pt>
    <dgm:pt modelId="{E712555B-3EA3-4476-BAF9-1C36499B6C77}" type="pres">
      <dgm:prSet presAssocID="{02AB8846-68CF-4381-8BCE-EBCF26EADB1C}" presName="child1group" presStyleCnt="0"/>
      <dgm:spPr/>
    </dgm:pt>
    <dgm:pt modelId="{AEBF7D14-3631-488A-9881-F4CA1D96B75D}" type="pres">
      <dgm:prSet presAssocID="{02AB8846-68CF-4381-8BCE-EBCF26EADB1C}" presName="child1" presStyleLbl="bgAcc1" presStyleIdx="0" presStyleCnt="4"/>
      <dgm:spPr/>
    </dgm:pt>
    <dgm:pt modelId="{2F00CEDF-D6ED-469D-A186-487D97D03546}" type="pres">
      <dgm:prSet presAssocID="{02AB8846-68CF-4381-8BCE-EBCF26EADB1C}" presName="child1Text" presStyleLbl="bgAcc1" presStyleIdx="0" presStyleCnt="4">
        <dgm:presLayoutVars>
          <dgm:bulletEnabled val="1"/>
        </dgm:presLayoutVars>
      </dgm:prSet>
      <dgm:spPr/>
    </dgm:pt>
    <dgm:pt modelId="{C354814B-AB3C-4773-96E0-22FB38A95BCD}" type="pres">
      <dgm:prSet presAssocID="{02AB8846-68CF-4381-8BCE-EBCF26EADB1C}" presName="child2group" presStyleCnt="0"/>
      <dgm:spPr/>
    </dgm:pt>
    <dgm:pt modelId="{65218977-B4E8-4BA6-A096-62EEA6164FCE}" type="pres">
      <dgm:prSet presAssocID="{02AB8846-68CF-4381-8BCE-EBCF26EADB1C}" presName="child2" presStyleLbl="bgAcc1" presStyleIdx="1" presStyleCnt="4"/>
      <dgm:spPr/>
    </dgm:pt>
    <dgm:pt modelId="{53D240B3-532F-4B85-8F8E-6BCF8C740D72}" type="pres">
      <dgm:prSet presAssocID="{02AB8846-68CF-4381-8BCE-EBCF26EADB1C}" presName="child2Text" presStyleLbl="bgAcc1" presStyleIdx="1" presStyleCnt="4">
        <dgm:presLayoutVars>
          <dgm:bulletEnabled val="1"/>
        </dgm:presLayoutVars>
      </dgm:prSet>
      <dgm:spPr/>
    </dgm:pt>
    <dgm:pt modelId="{41582B74-E54C-4537-9E93-A340731221F1}" type="pres">
      <dgm:prSet presAssocID="{02AB8846-68CF-4381-8BCE-EBCF26EADB1C}" presName="child3group" presStyleCnt="0"/>
      <dgm:spPr/>
    </dgm:pt>
    <dgm:pt modelId="{430D4DC5-5499-42CE-B425-07BDCF64A0FA}" type="pres">
      <dgm:prSet presAssocID="{02AB8846-68CF-4381-8BCE-EBCF26EADB1C}" presName="child3" presStyleLbl="bgAcc1" presStyleIdx="2" presStyleCnt="4"/>
      <dgm:spPr/>
    </dgm:pt>
    <dgm:pt modelId="{35E10B3C-E9B3-440B-A46D-6AB8336C7DFC}" type="pres">
      <dgm:prSet presAssocID="{02AB8846-68CF-4381-8BCE-EBCF26EADB1C}" presName="child3Text" presStyleLbl="bgAcc1" presStyleIdx="2" presStyleCnt="4">
        <dgm:presLayoutVars>
          <dgm:bulletEnabled val="1"/>
        </dgm:presLayoutVars>
      </dgm:prSet>
      <dgm:spPr/>
    </dgm:pt>
    <dgm:pt modelId="{4216F608-D216-4BC6-AD00-DB7DCBBCFF09}" type="pres">
      <dgm:prSet presAssocID="{02AB8846-68CF-4381-8BCE-EBCF26EADB1C}" presName="child4group" presStyleCnt="0"/>
      <dgm:spPr/>
    </dgm:pt>
    <dgm:pt modelId="{67F3CB49-B7DA-4664-9C70-68D1A83CE455}" type="pres">
      <dgm:prSet presAssocID="{02AB8846-68CF-4381-8BCE-EBCF26EADB1C}" presName="child4" presStyleLbl="bgAcc1" presStyleIdx="3" presStyleCnt="4"/>
      <dgm:spPr/>
    </dgm:pt>
    <dgm:pt modelId="{5CA1C295-E446-4455-8A06-27498B320701}" type="pres">
      <dgm:prSet presAssocID="{02AB8846-68CF-4381-8BCE-EBCF26EADB1C}" presName="child4Text" presStyleLbl="bgAcc1" presStyleIdx="3" presStyleCnt="4">
        <dgm:presLayoutVars>
          <dgm:bulletEnabled val="1"/>
        </dgm:presLayoutVars>
      </dgm:prSet>
      <dgm:spPr/>
    </dgm:pt>
    <dgm:pt modelId="{70294EFE-B6CC-4334-9F81-ECA6C27BF1E6}" type="pres">
      <dgm:prSet presAssocID="{02AB8846-68CF-4381-8BCE-EBCF26EADB1C}" presName="childPlaceholder" presStyleCnt="0"/>
      <dgm:spPr/>
    </dgm:pt>
    <dgm:pt modelId="{8D8271C0-5C01-4AF9-BC4C-C711E6DEDE11}" type="pres">
      <dgm:prSet presAssocID="{02AB8846-68CF-4381-8BCE-EBCF26EADB1C}" presName="circle" presStyleCnt="0"/>
      <dgm:spPr/>
    </dgm:pt>
    <dgm:pt modelId="{5E0E1F15-CEC5-45AA-9F14-22AF9C448B2A}" type="pres">
      <dgm:prSet presAssocID="{02AB8846-68CF-4381-8BCE-EBCF26EADB1C}" presName="quadrant1" presStyleLbl="node1" presStyleIdx="0" presStyleCnt="4">
        <dgm:presLayoutVars>
          <dgm:chMax val="1"/>
          <dgm:bulletEnabled val="1"/>
        </dgm:presLayoutVars>
      </dgm:prSet>
      <dgm:spPr/>
    </dgm:pt>
    <dgm:pt modelId="{5B03B478-0102-40BD-BDFB-D548AF97F3DD}" type="pres">
      <dgm:prSet presAssocID="{02AB8846-68CF-4381-8BCE-EBCF26EADB1C}" presName="quadrant2" presStyleLbl="node1" presStyleIdx="1" presStyleCnt="4">
        <dgm:presLayoutVars>
          <dgm:chMax val="1"/>
          <dgm:bulletEnabled val="1"/>
        </dgm:presLayoutVars>
      </dgm:prSet>
      <dgm:spPr/>
    </dgm:pt>
    <dgm:pt modelId="{33002D3F-F998-4B22-BA7A-E9F52C89ED81}" type="pres">
      <dgm:prSet presAssocID="{02AB8846-68CF-4381-8BCE-EBCF26EADB1C}" presName="quadrant3" presStyleLbl="node1" presStyleIdx="2" presStyleCnt="4">
        <dgm:presLayoutVars>
          <dgm:chMax val="1"/>
          <dgm:bulletEnabled val="1"/>
        </dgm:presLayoutVars>
      </dgm:prSet>
      <dgm:spPr/>
    </dgm:pt>
    <dgm:pt modelId="{6489246A-AD7B-4909-BEC4-2A2919D12F8D}" type="pres">
      <dgm:prSet presAssocID="{02AB8846-68CF-4381-8BCE-EBCF26EADB1C}" presName="quadrant4" presStyleLbl="node1" presStyleIdx="3" presStyleCnt="4">
        <dgm:presLayoutVars>
          <dgm:chMax val="1"/>
          <dgm:bulletEnabled val="1"/>
        </dgm:presLayoutVars>
      </dgm:prSet>
      <dgm:spPr/>
    </dgm:pt>
    <dgm:pt modelId="{9A037C1E-7D27-4FDC-AFD0-3850232D4F5A}" type="pres">
      <dgm:prSet presAssocID="{02AB8846-68CF-4381-8BCE-EBCF26EADB1C}" presName="quadrantPlaceholder" presStyleCnt="0"/>
      <dgm:spPr/>
    </dgm:pt>
    <dgm:pt modelId="{023CB3DD-FACB-4C8B-984B-FDE14AF0DD36}" type="pres">
      <dgm:prSet presAssocID="{02AB8846-68CF-4381-8BCE-EBCF26EADB1C}" presName="center1" presStyleLbl="fgShp" presStyleIdx="0" presStyleCnt="2"/>
      <dgm:spPr/>
    </dgm:pt>
    <dgm:pt modelId="{8351FE36-4B67-4DCC-AE19-3C95486E62CB}" type="pres">
      <dgm:prSet presAssocID="{02AB8846-68CF-4381-8BCE-EBCF26EADB1C}" presName="center2" presStyleLbl="fgShp" presStyleIdx="1" presStyleCnt="2"/>
      <dgm:spPr/>
    </dgm:pt>
  </dgm:ptLst>
  <dgm:cxnLst>
    <dgm:cxn modelId="{280B4704-9618-4E75-A680-F6868A74088C}" srcId="{B57C01EE-78A1-4DD6-ADAE-36A7328A31F0}" destId="{C3BCBE76-8610-4444-B566-382C08CAEB65}" srcOrd="1" destOrd="0" parTransId="{BF2EE728-710A-4046-831E-E986CD8738CC}" sibTransId="{BBEB0821-3B6A-4F8C-B6BE-FF907C3DCF2F}"/>
    <dgm:cxn modelId="{EEADD107-0A66-4BA8-B476-690F6DD6FD0E}" type="presOf" srcId="{2E15FCDA-9540-4598-ACEC-93DE349BD479}" destId="{AEBF7D14-3631-488A-9881-F4CA1D96B75D}" srcOrd="0" destOrd="0" presId="urn:microsoft.com/office/officeart/2005/8/layout/cycle4"/>
    <dgm:cxn modelId="{8E9CB010-6501-41FA-B6BD-CFF8F4D58767}" type="presOf" srcId="{D8FC351F-FB09-4568-A55F-E9E45713CB33}" destId="{53D240B3-532F-4B85-8F8E-6BCF8C740D72}" srcOrd="1" destOrd="0" presId="urn:microsoft.com/office/officeart/2005/8/layout/cycle4"/>
    <dgm:cxn modelId="{3E3A141A-5A8F-408B-BA36-589A4D4050DB}" type="presOf" srcId="{65023E90-E087-4B62-9BE6-7997E324B35A}" destId="{5CA1C295-E446-4455-8A06-27498B320701}" srcOrd="1" destOrd="0" presId="urn:microsoft.com/office/officeart/2005/8/layout/cycle4"/>
    <dgm:cxn modelId="{D17AEA1F-8FEC-44C5-844C-CEE851856864}" type="presOf" srcId="{D10FA92E-067C-459E-B0CF-5457A4E8021D}" destId="{430D4DC5-5499-42CE-B425-07BDCF64A0FA}" srcOrd="0" destOrd="0" presId="urn:microsoft.com/office/officeart/2005/8/layout/cycle4"/>
    <dgm:cxn modelId="{4B029342-2DFE-4969-9A83-9E6AA4720B04}" type="presOf" srcId="{B57C01EE-78A1-4DD6-ADAE-36A7328A31F0}" destId="{5E0E1F15-CEC5-45AA-9F14-22AF9C448B2A}" srcOrd="0" destOrd="0" presId="urn:microsoft.com/office/officeart/2005/8/layout/cycle4"/>
    <dgm:cxn modelId="{D733164E-747C-4B98-B924-5EC545392290}" srcId="{02AB8846-68CF-4381-8BCE-EBCF26EADB1C}" destId="{3755C5AD-C258-45D4-8291-0A78D1374481}" srcOrd="3" destOrd="0" parTransId="{7D038071-0385-4CE8-8DC7-00B3E9DBCCF4}" sibTransId="{D9638B98-0CB4-43F7-9E72-4EF0972148C8}"/>
    <dgm:cxn modelId="{10EAB44F-5F62-4A16-AE6B-DEDDB7D5D2FC}" type="presOf" srcId="{9FEB598A-A119-4283-AF68-734ABB6E378F}" destId="{33002D3F-F998-4B22-BA7A-E9F52C89ED81}" srcOrd="0" destOrd="0" presId="urn:microsoft.com/office/officeart/2005/8/layout/cycle4"/>
    <dgm:cxn modelId="{A3E58153-F660-42F5-99BB-7AD311B3A582}" type="presOf" srcId="{02AB8846-68CF-4381-8BCE-EBCF26EADB1C}" destId="{B24C1EE6-9F3E-4334-B89D-89CF3EF13130}" srcOrd="0" destOrd="0" presId="urn:microsoft.com/office/officeart/2005/8/layout/cycle4"/>
    <dgm:cxn modelId="{85597954-946D-4DC0-8622-FAE84631FFD6}" srcId="{02AB8846-68CF-4381-8BCE-EBCF26EADB1C}" destId="{524D7A91-E9FA-471C-BDEB-768E0718178A}" srcOrd="1" destOrd="0" parTransId="{B777D478-E968-404C-853F-ED662EC5296D}" sibTransId="{4B241E9F-503E-460F-AD6A-A65E02007C4E}"/>
    <dgm:cxn modelId="{B19F1355-0947-4694-9868-3382CC7980F9}" srcId="{02AB8846-68CF-4381-8BCE-EBCF26EADB1C}" destId="{B57C01EE-78A1-4DD6-ADAE-36A7328A31F0}" srcOrd="0" destOrd="0" parTransId="{8B2E3520-5733-4539-B160-81898E03E606}" sibTransId="{A7105266-5C17-4515-A5AA-4EEBCF87C308}"/>
    <dgm:cxn modelId="{54013A58-CEF2-4AC5-94AB-F181314D3254}" type="presOf" srcId="{524D7A91-E9FA-471C-BDEB-768E0718178A}" destId="{5B03B478-0102-40BD-BDFB-D548AF97F3DD}" srcOrd="0" destOrd="0" presId="urn:microsoft.com/office/officeart/2005/8/layout/cycle4"/>
    <dgm:cxn modelId="{8A36665B-F82B-41F5-8172-7E8E0F994472}" srcId="{9FEB598A-A119-4283-AF68-734ABB6E378F}" destId="{D10FA92E-067C-459E-B0CF-5457A4E8021D}" srcOrd="0" destOrd="0" parTransId="{182BD70E-FB4D-4FC2-B23F-9F3122C05A99}" sibTransId="{5A5A589D-FAEC-44E0-8F64-E161EFC6071F}"/>
    <dgm:cxn modelId="{7284346B-D07D-411E-BF1E-06EEDB3C6D83}" type="presOf" srcId="{D10FA92E-067C-459E-B0CF-5457A4E8021D}" destId="{35E10B3C-E9B3-440B-A46D-6AB8336C7DFC}" srcOrd="1" destOrd="0" presId="urn:microsoft.com/office/officeart/2005/8/layout/cycle4"/>
    <dgm:cxn modelId="{D5E1927A-809A-4E2B-A70D-2C3F125C2C9E}" type="presOf" srcId="{3755C5AD-C258-45D4-8291-0A78D1374481}" destId="{6489246A-AD7B-4909-BEC4-2A2919D12F8D}" srcOrd="0" destOrd="0" presId="urn:microsoft.com/office/officeart/2005/8/layout/cycle4"/>
    <dgm:cxn modelId="{7D471D7B-4289-475F-9B32-8A43A4CBFBC5}" type="presOf" srcId="{D8FC351F-FB09-4568-A55F-E9E45713CB33}" destId="{65218977-B4E8-4BA6-A096-62EEA6164FCE}" srcOrd="0" destOrd="0" presId="urn:microsoft.com/office/officeart/2005/8/layout/cycle4"/>
    <dgm:cxn modelId="{9E722C7C-E4B3-4EA1-BA75-F6624A4A12B4}" type="presOf" srcId="{C3BCBE76-8610-4444-B566-382C08CAEB65}" destId="{AEBF7D14-3631-488A-9881-F4CA1D96B75D}" srcOrd="0" destOrd="1" presId="urn:microsoft.com/office/officeart/2005/8/layout/cycle4"/>
    <dgm:cxn modelId="{A5722B86-69C1-45D6-8C07-328F29C23C45}" srcId="{B57C01EE-78A1-4DD6-ADAE-36A7328A31F0}" destId="{2E15FCDA-9540-4598-ACEC-93DE349BD479}" srcOrd="0" destOrd="0" parTransId="{44F2D9D8-66DF-4DF0-9A07-F0610F521E66}" sibTransId="{6A93C49F-8F48-49FB-8304-24383307A517}"/>
    <dgm:cxn modelId="{49FFB49A-1885-4A42-A0EE-B998C8F60799}" type="presOf" srcId="{2E15FCDA-9540-4598-ACEC-93DE349BD479}" destId="{2F00CEDF-D6ED-469D-A186-487D97D03546}" srcOrd="1" destOrd="0" presId="urn:microsoft.com/office/officeart/2005/8/layout/cycle4"/>
    <dgm:cxn modelId="{0DC836B2-9ACC-486B-A0AC-FC9B2F9F9E2E}" type="presOf" srcId="{C3BCBE76-8610-4444-B566-382C08CAEB65}" destId="{2F00CEDF-D6ED-469D-A186-487D97D03546}" srcOrd="1" destOrd="1" presId="urn:microsoft.com/office/officeart/2005/8/layout/cycle4"/>
    <dgm:cxn modelId="{987681BA-3F06-481D-A61C-9DAA24E35734}" type="presOf" srcId="{65023E90-E087-4B62-9BE6-7997E324B35A}" destId="{67F3CB49-B7DA-4664-9C70-68D1A83CE455}" srcOrd="0" destOrd="0" presId="urn:microsoft.com/office/officeart/2005/8/layout/cycle4"/>
    <dgm:cxn modelId="{431637D6-B43F-41FE-9A8E-BA136311C1E9}" srcId="{02AB8846-68CF-4381-8BCE-EBCF26EADB1C}" destId="{9FEB598A-A119-4283-AF68-734ABB6E378F}" srcOrd="2" destOrd="0" parTransId="{E39D7720-F002-4572-AD66-1020E9F3F4C7}" sibTransId="{46E8B783-610E-4DC8-A7D3-EB228EB5E4DF}"/>
    <dgm:cxn modelId="{0B1DDCDF-3AB4-48E4-83D6-45C06EE61D60}" srcId="{3755C5AD-C258-45D4-8291-0A78D1374481}" destId="{65023E90-E087-4B62-9BE6-7997E324B35A}" srcOrd="0" destOrd="0" parTransId="{5013F218-8D71-451B-9F73-57BEF58D1869}" sibTransId="{7B201B0A-A197-41E2-ABB2-EBB8C7FB42F7}"/>
    <dgm:cxn modelId="{94A604F6-A754-4072-B835-FB85332B1517}" srcId="{524D7A91-E9FA-471C-BDEB-768E0718178A}" destId="{D8FC351F-FB09-4568-A55F-E9E45713CB33}" srcOrd="0" destOrd="0" parTransId="{F4009AF6-5B03-40FD-9DF2-1BD321CB7BB5}" sibTransId="{F8F9F254-FA53-474D-8D93-7A029D1F828B}"/>
    <dgm:cxn modelId="{3402F981-4DE0-4D09-BA58-B58D66DDE9F1}" type="presParOf" srcId="{B24C1EE6-9F3E-4334-B89D-89CF3EF13130}" destId="{19CA33A5-28DD-42DE-AB35-21030B5C0C61}" srcOrd="0" destOrd="0" presId="urn:microsoft.com/office/officeart/2005/8/layout/cycle4"/>
    <dgm:cxn modelId="{935BF996-8EDE-457F-A903-525029273546}" type="presParOf" srcId="{19CA33A5-28DD-42DE-AB35-21030B5C0C61}" destId="{E712555B-3EA3-4476-BAF9-1C36499B6C77}" srcOrd="0" destOrd="0" presId="urn:microsoft.com/office/officeart/2005/8/layout/cycle4"/>
    <dgm:cxn modelId="{188E2899-6A6E-4EAA-BB54-55FF88B4953C}" type="presParOf" srcId="{E712555B-3EA3-4476-BAF9-1C36499B6C77}" destId="{AEBF7D14-3631-488A-9881-F4CA1D96B75D}" srcOrd="0" destOrd="0" presId="urn:microsoft.com/office/officeart/2005/8/layout/cycle4"/>
    <dgm:cxn modelId="{B0AEB8E9-02F8-47D4-9AC6-6191F4C9BC83}" type="presParOf" srcId="{E712555B-3EA3-4476-BAF9-1C36499B6C77}" destId="{2F00CEDF-D6ED-469D-A186-487D97D03546}" srcOrd="1" destOrd="0" presId="urn:microsoft.com/office/officeart/2005/8/layout/cycle4"/>
    <dgm:cxn modelId="{87606494-85E3-44B3-9934-3098DD519085}" type="presParOf" srcId="{19CA33A5-28DD-42DE-AB35-21030B5C0C61}" destId="{C354814B-AB3C-4773-96E0-22FB38A95BCD}" srcOrd="1" destOrd="0" presId="urn:microsoft.com/office/officeart/2005/8/layout/cycle4"/>
    <dgm:cxn modelId="{F7D227A6-A82F-45DE-90F6-367E37E1566D}" type="presParOf" srcId="{C354814B-AB3C-4773-96E0-22FB38A95BCD}" destId="{65218977-B4E8-4BA6-A096-62EEA6164FCE}" srcOrd="0" destOrd="0" presId="urn:microsoft.com/office/officeart/2005/8/layout/cycle4"/>
    <dgm:cxn modelId="{FBDC41E3-6B4F-4981-A4CF-894785167D8D}" type="presParOf" srcId="{C354814B-AB3C-4773-96E0-22FB38A95BCD}" destId="{53D240B3-532F-4B85-8F8E-6BCF8C740D72}" srcOrd="1" destOrd="0" presId="urn:microsoft.com/office/officeart/2005/8/layout/cycle4"/>
    <dgm:cxn modelId="{F1F194F5-68A9-4477-A4EC-19B6402C953F}" type="presParOf" srcId="{19CA33A5-28DD-42DE-AB35-21030B5C0C61}" destId="{41582B74-E54C-4537-9E93-A340731221F1}" srcOrd="2" destOrd="0" presId="urn:microsoft.com/office/officeart/2005/8/layout/cycle4"/>
    <dgm:cxn modelId="{B6666E94-D89A-45E7-B36B-128E0357A322}" type="presParOf" srcId="{41582B74-E54C-4537-9E93-A340731221F1}" destId="{430D4DC5-5499-42CE-B425-07BDCF64A0FA}" srcOrd="0" destOrd="0" presId="urn:microsoft.com/office/officeart/2005/8/layout/cycle4"/>
    <dgm:cxn modelId="{8A23D959-81B0-4F12-A68A-C92209E374B7}" type="presParOf" srcId="{41582B74-E54C-4537-9E93-A340731221F1}" destId="{35E10B3C-E9B3-440B-A46D-6AB8336C7DFC}" srcOrd="1" destOrd="0" presId="urn:microsoft.com/office/officeart/2005/8/layout/cycle4"/>
    <dgm:cxn modelId="{241E0DFD-4ED6-43A9-B29B-C13E6D836C83}" type="presParOf" srcId="{19CA33A5-28DD-42DE-AB35-21030B5C0C61}" destId="{4216F608-D216-4BC6-AD00-DB7DCBBCFF09}" srcOrd="3" destOrd="0" presId="urn:microsoft.com/office/officeart/2005/8/layout/cycle4"/>
    <dgm:cxn modelId="{FCB036AE-9463-442F-89B6-F7E1AAEDE20F}" type="presParOf" srcId="{4216F608-D216-4BC6-AD00-DB7DCBBCFF09}" destId="{67F3CB49-B7DA-4664-9C70-68D1A83CE455}" srcOrd="0" destOrd="0" presId="urn:microsoft.com/office/officeart/2005/8/layout/cycle4"/>
    <dgm:cxn modelId="{F527FADD-07A4-4506-AD3F-DB85BEF4B43D}" type="presParOf" srcId="{4216F608-D216-4BC6-AD00-DB7DCBBCFF09}" destId="{5CA1C295-E446-4455-8A06-27498B320701}" srcOrd="1" destOrd="0" presId="urn:microsoft.com/office/officeart/2005/8/layout/cycle4"/>
    <dgm:cxn modelId="{A175B16E-B13B-48AB-A592-2FF9008460A5}" type="presParOf" srcId="{19CA33A5-28DD-42DE-AB35-21030B5C0C61}" destId="{70294EFE-B6CC-4334-9F81-ECA6C27BF1E6}" srcOrd="4" destOrd="0" presId="urn:microsoft.com/office/officeart/2005/8/layout/cycle4"/>
    <dgm:cxn modelId="{353CE6BD-4B70-47C0-878C-3A5336B38B25}" type="presParOf" srcId="{B24C1EE6-9F3E-4334-B89D-89CF3EF13130}" destId="{8D8271C0-5C01-4AF9-BC4C-C711E6DEDE11}" srcOrd="1" destOrd="0" presId="urn:microsoft.com/office/officeart/2005/8/layout/cycle4"/>
    <dgm:cxn modelId="{6DB59D8B-4BC1-4D0D-B6F3-5B105AA62322}" type="presParOf" srcId="{8D8271C0-5C01-4AF9-BC4C-C711E6DEDE11}" destId="{5E0E1F15-CEC5-45AA-9F14-22AF9C448B2A}" srcOrd="0" destOrd="0" presId="urn:microsoft.com/office/officeart/2005/8/layout/cycle4"/>
    <dgm:cxn modelId="{3F9B3628-9666-4C88-BE92-5FEDAA7ABD2D}" type="presParOf" srcId="{8D8271C0-5C01-4AF9-BC4C-C711E6DEDE11}" destId="{5B03B478-0102-40BD-BDFB-D548AF97F3DD}" srcOrd="1" destOrd="0" presId="urn:microsoft.com/office/officeart/2005/8/layout/cycle4"/>
    <dgm:cxn modelId="{8EEAC34E-4C6E-42B8-8823-02C2BEBE0550}" type="presParOf" srcId="{8D8271C0-5C01-4AF9-BC4C-C711E6DEDE11}" destId="{33002D3F-F998-4B22-BA7A-E9F52C89ED81}" srcOrd="2" destOrd="0" presId="urn:microsoft.com/office/officeart/2005/8/layout/cycle4"/>
    <dgm:cxn modelId="{4E04E990-65F6-4A40-996C-09BD78CCFCBF}" type="presParOf" srcId="{8D8271C0-5C01-4AF9-BC4C-C711E6DEDE11}" destId="{6489246A-AD7B-4909-BEC4-2A2919D12F8D}" srcOrd="3" destOrd="0" presId="urn:microsoft.com/office/officeart/2005/8/layout/cycle4"/>
    <dgm:cxn modelId="{3C207054-E2DD-413A-B5A0-5FE498125BF9}" type="presParOf" srcId="{8D8271C0-5C01-4AF9-BC4C-C711E6DEDE11}" destId="{9A037C1E-7D27-4FDC-AFD0-3850232D4F5A}" srcOrd="4" destOrd="0" presId="urn:microsoft.com/office/officeart/2005/8/layout/cycle4"/>
    <dgm:cxn modelId="{E8D05618-AEA1-4D3D-9FD0-BC8EB8A3B1E2}" type="presParOf" srcId="{B24C1EE6-9F3E-4334-B89D-89CF3EF13130}" destId="{023CB3DD-FACB-4C8B-984B-FDE14AF0DD36}" srcOrd="2" destOrd="0" presId="urn:microsoft.com/office/officeart/2005/8/layout/cycle4"/>
    <dgm:cxn modelId="{878BC56B-EBF4-412C-A78B-9EA6E8A23E4E}" type="presParOf" srcId="{B24C1EE6-9F3E-4334-B89D-89CF3EF13130}" destId="{8351FE36-4B67-4DCC-AE19-3C95486E62CB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30D4DC5-5499-42CE-B425-07BDCF64A0FA}">
      <dsp:nvSpPr>
        <dsp:cNvPr id="0" name=""/>
        <dsp:cNvSpPr/>
      </dsp:nvSpPr>
      <dsp:spPr>
        <a:xfrm>
          <a:off x="3675133" y="3350589"/>
          <a:ext cx="2252501" cy="145911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000" kern="1200" dirty="0"/>
            <a:t>   </a:t>
          </a:r>
          <a:r>
            <a:rPr lang="en-US" sz="1000" b="1" kern="1200" dirty="0">
              <a:solidFill>
                <a:schemeClr val="tx1"/>
              </a:solidFill>
            </a:rPr>
            <a:t>Large majority of transmissions occurred between partners from the same community</a:t>
          </a:r>
        </a:p>
      </dsp:txBody>
      <dsp:txXfrm>
        <a:off x="4382936" y="3747418"/>
        <a:ext cx="1512646" cy="1030228"/>
      </dsp:txXfrm>
    </dsp:sp>
    <dsp:sp modelId="{67F3CB49-B7DA-4664-9C70-68D1A83CE455}">
      <dsp:nvSpPr>
        <dsp:cNvPr id="0" name=""/>
        <dsp:cNvSpPr/>
      </dsp:nvSpPr>
      <dsp:spPr>
        <a:xfrm>
          <a:off x="0" y="3350589"/>
          <a:ext cx="2252501" cy="145911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b="1" kern="1200" dirty="0">
              <a:solidFill>
                <a:schemeClr val="tx1"/>
              </a:solidFill>
            </a:rPr>
            <a:t>Increasing contribution of transmission flows to AGYW by partners aged 25-40 years</a:t>
          </a:r>
        </a:p>
      </dsp:txBody>
      <dsp:txXfrm>
        <a:off x="32052" y="3747418"/>
        <a:ext cx="1512646" cy="1030228"/>
      </dsp:txXfrm>
    </dsp:sp>
    <dsp:sp modelId="{65218977-B4E8-4BA6-A096-62EEA6164FCE}">
      <dsp:nvSpPr>
        <dsp:cNvPr id="0" name=""/>
        <dsp:cNvSpPr/>
      </dsp:nvSpPr>
      <dsp:spPr>
        <a:xfrm>
          <a:off x="3675133" y="249980"/>
          <a:ext cx="2252501" cy="145911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b="1" kern="1200" dirty="0">
              <a:solidFill>
                <a:schemeClr val="tx1"/>
              </a:solidFill>
            </a:rPr>
            <a:t>Increasing majority of new infections arising from men, widening pre-existing gender disparity in HIV transmission</a:t>
          </a:r>
        </a:p>
      </dsp:txBody>
      <dsp:txXfrm>
        <a:off x="4382936" y="282032"/>
        <a:ext cx="1512646" cy="1030228"/>
      </dsp:txXfrm>
    </dsp:sp>
    <dsp:sp modelId="{AEBF7D14-3631-488A-9881-F4CA1D96B75D}">
      <dsp:nvSpPr>
        <dsp:cNvPr id="0" name=""/>
        <dsp:cNvSpPr/>
      </dsp:nvSpPr>
      <dsp:spPr>
        <a:xfrm>
          <a:off x="0" y="249980"/>
          <a:ext cx="2252501" cy="145911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b="1" kern="1200" dirty="0">
              <a:solidFill>
                <a:schemeClr val="tx1"/>
              </a:solidFill>
            </a:rPr>
            <a:t>Advanced HIV disease and transmission risk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b="1" kern="1200" dirty="0">
              <a:solidFill>
                <a:schemeClr val="tx1"/>
              </a:solidFill>
            </a:rPr>
            <a:t>Viral suppression rates were 1.5-2-fold higher among women than men</a:t>
          </a:r>
        </a:p>
      </dsp:txBody>
      <dsp:txXfrm>
        <a:off x="32052" y="282032"/>
        <a:ext cx="1512646" cy="1030228"/>
      </dsp:txXfrm>
    </dsp:sp>
    <dsp:sp modelId="{5E0E1F15-CEC5-45AA-9F14-22AF9C448B2A}">
      <dsp:nvSpPr>
        <dsp:cNvPr id="0" name=""/>
        <dsp:cNvSpPr/>
      </dsp:nvSpPr>
      <dsp:spPr>
        <a:xfrm>
          <a:off x="943861" y="509884"/>
          <a:ext cx="1974358" cy="1974358"/>
        </a:xfrm>
        <a:prstGeom prst="pieWedg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Viral suppression and transmission dynamics</a:t>
          </a:r>
        </a:p>
      </dsp:txBody>
      <dsp:txXfrm>
        <a:off x="1522137" y="1088160"/>
        <a:ext cx="1396082" cy="1396082"/>
      </dsp:txXfrm>
    </dsp:sp>
    <dsp:sp modelId="{5B03B478-0102-40BD-BDFB-D548AF97F3DD}">
      <dsp:nvSpPr>
        <dsp:cNvPr id="0" name=""/>
        <dsp:cNvSpPr/>
      </dsp:nvSpPr>
      <dsp:spPr>
        <a:xfrm rot="5400000">
          <a:off x="3009414" y="509884"/>
          <a:ext cx="1974358" cy="1974358"/>
        </a:xfrm>
        <a:prstGeom prst="pieWedg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New infections</a:t>
          </a:r>
        </a:p>
      </dsp:txBody>
      <dsp:txXfrm rot="-5400000">
        <a:off x="3009414" y="1088160"/>
        <a:ext cx="1396082" cy="1396082"/>
      </dsp:txXfrm>
    </dsp:sp>
    <dsp:sp modelId="{33002D3F-F998-4B22-BA7A-E9F52C89ED81}">
      <dsp:nvSpPr>
        <dsp:cNvPr id="0" name=""/>
        <dsp:cNvSpPr/>
      </dsp:nvSpPr>
      <dsp:spPr>
        <a:xfrm rot="10800000">
          <a:off x="3009414" y="2575437"/>
          <a:ext cx="1974358" cy="1974358"/>
        </a:xfrm>
        <a:prstGeom prst="pieWedg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Intra-community transmission</a:t>
          </a:r>
        </a:p>
      </dsp:txBody>
      <dsp:txXfrm rot="10800000">
        <a:off x="3009414" y="2575437"/>
        <a:ext cx="1396082" cy="1396082"/>
      </dsp:txXfrm>
    </dsp:sp>
    <dsp:sp modelId="{6489246A-AD7B-4909-BEC4-2A2919D12F8D}">
      <dsp:nvSpPr>
        <dsp:cNvPr id="0" name=""/>
        <dsp:cNvSpPr/>
      </dsp:nvSpPr>
      <dsp:spPr>
        <a:xfrm rot="16200000">
          <a:off x="943861" y="2575437"/>
          <a:ext cx="1974358" cy="1974358"/>
        </a:xfrm>
        <a:prstGeom prst="pieWedg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Increasing transmission flows</a:t>
          </a:r>
        </a:p>
      </dsp:txBody>
      <dsp:txXfrm rot="5400000">
        <a:off x="1522137" y="2575437"/>
        <a:ext cx="1396082" cy="1396082"/>
      </dsp:txXfrm>
    </dsp:sp>
    <dsp:sp modelId="{023CB3DD-FACB-4C8B-984B-FDE14AF0DD36}">
      <dsp:nvSpPr>
        <dsp:cNvPr id="0" name=""/>
        <dsp:cNvSpPr/>
      </dsp:nvSpPr>
      <dsp:spPr>
        <a:xfrm>
          <a:off x="2622978" y="2119465"/>
          <a:ext cx="681678" cy="592763"/>
        </a:xfrm>
        <a:prstGeom prst="circularArrow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351FE36-4B67-4DCC-AE19-3C95486E62CB}">
      <dsp:nvSpPr>
        <dsp:cNvPr id="0" name=""/>
        <dsp:cNvSpPr/>
      </dsp:nvSpPr>
      <dsp:spPr>
        <a:xfrm rot="10800000">
          <a:off x="2622978" y="2347451"/>
          <a:ext cx="681678" cy="592763"/>
        </a:xfrm>
        <a:prstGeom prst="circularArrow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7491</cdr:x>
      <cdr:y>0.24746</cdr:y>
    </cdr:from>
    <cdr:to>
      <cdr:x>0.36636</cdr:x>
      <cdr:y>0.3253</cdr:y>
    </cdr:to>
    <cdr:sp macro="" textlink="">
      <cdr:nvSpPr>
        <cdr:cNvPr id="2" name="Oval 1">
          <a:extLst xmlns:a="http://schemas.openxmlformats.org/drawingml/2006/main">
            <a:ext uri="{FF2B5EF4-FFF2-40B4-BE49-F238E27FC236}">
              <a16:creationId xmlns:a16="http://schemas.microsoft.com/office/drawing/2014/main" id="{2F7923DD-EF1B-4C20-B3E4-9AEC2F754C64}"/>
            </a:ext>
          </a:extLst>
        </cdr:cNvPr>
        <cdr:cNvSpPr/>
      </cdr:nvSpPr>
      <cdr:spPr>
        <a:xfrm xmlns:a="http://schemas.openxmlformats.org/drawingml/2006/main" rot="19558900">
          <a:off x="2757509" y="1350773"/>
          <a:ext cx="917285" cy="424872"/>
        </a:xfrm>
        <a:prstGeom xmlns:a="http://schemas.openxmlformats.org/drawingml/2006/main" prst="ellipse">
          <a:avLst/>
        </a:prstGeom>
        <a:noFill xmlns:a="http://schemas.openxmlformats.org/drawingml/2006/main"/>
        <a:ln xmlns:a="http://schemas.openxmlformats.org/drawingml/2006/main">
          <a:solidFill>
            <a:srgbClr val="00B0F0"/>
          </a:solidFill>
        </a:ln>
      </cdr:spPr>
      <cdr:style>
        <a:lnRef xmlns:a="http://schemas.openxmlformats.org/drawingml/2006/main" idx="2">
          <a:schemeClr val="accent5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5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en-US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87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LID4096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87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C33E4D-8AB4-4541-86E1-8761E01C2AA4}" type="datetimeFigureOut">
              <a:rPr lang="LID4096" smtClean="0"/>
              <a:t>7/11/24</a:t>
            </a:fld>
            <a:endParaRPr lang="LID4096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3013"/>
            <a:ext cx="5961062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LID4096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879" y="4784070"/>
            <a:ext cx="5447030" cy="3914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ID4096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877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LID4096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877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26A2-DB14-4DDC-8EB6-3916C5C40094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16418549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33E4911-8893-EA48-A740-CCBD61087B62}"/>
              </a:ext>
            </a:extLst>
          </p:cNvPr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pPr marL="0" marR="0" lvl="0" indent="0" algn="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945D62-C200-BA4C-845A-71DD115EECFF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rPr>
              <a:pPr marL="0" marR="0" lvl="0" indent="0" algn="r" defTabSz="18284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11265" name="Text Box 1">
            <a:extLst>
              <a:ext uri="{FF2B5EF4-FFF2-40B4-BE49-F238E27FC236}">
                <a16:creationId xmlns:a16="http://schemas.microsoft.com/office/drawing/2014/main" id="{07C0E974-496C-E04A-B178-C36E7633C24F}"/>
              </a:ext>
            </a:extLst>
          </p:cNvPr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533400" y="763588"/>
            <a:ext cx="6705600" cy="37719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1266" name="Text Box 2">
            <a:extLst>
              <a:ext uri="{FF2B5EF4-FFF2-40B4-BE49-F238E27FC236}">
                <a16:creationId xmlns:a16="http://schemas.microsoft.com/office/drawing/2014/main" id="{4E6F5B07-2C49-5C4C-8B71-04AE1274213F}"/>
              </a:ext>
            </a:extLst>
          </p:cNvPr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777875" y="4776788"/>
            <a:ext cx="6218238" cy="4525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778549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33E4911-8893-EA48-A740-CCBD61087B62}"/>
              </a:ext>
            </a:extLst>
          </p:cNvPr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pPr marL="0" marR="0" lvl="0" indent="0" algn="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945D62-C200-BA4C-845A-71DD115EECFF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rPr>
              <a:pPr marL="0" marR="0" lvl="0" indent="0" algn="r" defTabSz="18284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11265" name="Text Box 1">
            <a:extLst>
              <a:ext uri="{FF2B5EF4-FFF2-40B4-BE49-F238E27FC236}">
                <a16:creationId xmlns:a16="http://schemas.microsoft.com/office/drawing/2014/main" id="{07C0E974-496C-E04A-B178-C36E7633C24F}"/>
              </a:ext>
            </a:extLst>
          </p:cNvPr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533400" y="763588"/>
            <a:ext cx="6705600" cy="37719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1266" name="Text Box 2">
            <a:extLst>
              <a:ext uri="{FF2B5EF4-FFF2-40B4-BE49-F238E27FC236}">
                <a16:creationId xmlns:a16="http://schemas.microsoft.com/office/drawing/2014/main" id="{4E6F5B07-2C49-5C4C-8B71-04AE1274213F}"/>
              </a:ext>
            </a:extLst>
          </p:cNvPr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777875" y="4776788"/>
            <a:ext cx="6218238" cy="4525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440498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54504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10C2C53-69F1-49C8-A6D4-999F58F4B149}" type="slidenum">
              <a:rPr kumimoji="0" lang="en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8477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816556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6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0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2AD4E1-15D4-43CB-93A2-53BF5B4980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LID4096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C7A50C-4868-4C4C-9D9B-DFAD3003F1D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33053391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2884274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F7038B9-B12F-411D-BE4D-66E157524C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6A507-6674-4087-9C57-86A734E193FD}" type="datetimeFigureOut">
              <a:rPr lang="en-US" smtClean="0"/>
              <a:t>7/11/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C9683E-AC5E-46AE-98AD-D0AA789EF7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3B721D-91CF-44AF-A78A-68304D46C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A450AD-CDA4-4B12-B734-3E81799AF2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453382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59D423-6018-48E6-B914-2A48BE390E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8" cy="1600200"/>
          </a:xfrm>
        </p:spPr>
        <p:txBody>
          <a:bodyPr anchor="b"/>
          <a:lstStyle>
            <a:lvl1pPr>
              <a:defRPr sz="2025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E3823DD-79CE-45DE-8BC8-CEDA64113C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2025"/>
            </a:lvl1pPr>
            <a:lvl2pPr>
              <a:defRPr sz="1772"/>
            </a:lvl2pPr>
            <a:lvl3pPr>
              <a:defRPr sz="1518"/>
            </a:lvl3pPr>
            <a:lvl4pPr>
              <a:defRPr sz="1265"/>
            </a:lvl4pPr>
            <a:lvl5pPr>
              <a:defRPr sz="1265"/>
            </a:lvl5pPr>
            <a:lvl6pPr>
              <a:defRPr sz="1265"/>
            </a:lvl6pPr>
            <a:lvl7pPr>
              <a:defRPr sz="1265"/>
            </a:lvl7pPr>
            <a:lvl8pPr>
              <a:defRPr sz="1265"/>
            </a:lvl8pPr>
            <a:lvl9pPr>
              <a:defRPr sz="1265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09148AE-189F-43D6-AE82-4373D2522C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2"/>
            <a:ext cx="3932238" cy="3811588"/>
          </a:xfrm>
        </p:spPr>
        <p:txBody>
          <a:bodyPr/>
          <a:lstStyle>
            <a:lvl1pPr marL="0" indent="0">
              <a:buNone/>
              <a:defRPr sz="1013"/>
            </a:lvl1pPr>
            <a:lvl2pPr marL="289347" indent="0">
              <a:buNone/>
              <a:defRPr sz="886"/>
            </a:lvl2pPr>
            <a:lvl3pPr marL="578694" indent="0">
              <a:buNone/>
              <a:defRPr sz="760"/>
            </a:lvl3pPr>
            <a:lvl4pPr marL="868041" indent="0">
              <a:buNone/>
              <a:defRPr sz="632"/>
            </a:lvl4pPr>
            <a:lvl5pPr marL="1157387" indent="0">
              <a:buNone/>
              <a:defRPr sz="632"/>
            </a:lvl5pPr>
            <a:lvl6pPr marL="1446735" indent="0">
              <a:buNone/>
              <a:defRPr sz="632"/>
            </a:lvl6pPr>
            <a:lvl7pPr marL="1736082" indent="0">
              <a:buNone/>
              <a:defRPr sz="632"/>
            </a:lvl7pPr>
            <a:lvl8pPr marL="2025429" indent="0">
              <a:buNone/>
              <a:defRPr sz="632"/>
            </a:lvl8pPr>
            <a:lvl9pPr marL="2314776" indent="0">
              <a:buNone/>
              <a:defRPr sz="632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88A1B9E-0116-4996-80FD-1D850BE5E3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6A507-6674-4087-9C57-86A734E193FD}" type="datetimeFigureOut">
              <a:rPr lang="en-US" smtClean="0"/>
              <a:t>7/11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6A84D6D-1525-4E66-AC2D-143C892C0A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854584E-0A1D-4D11-BEFA-16F11A98B7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A450AD-CDA4-4B12-B734-3E81799AF2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428225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F8673F-2279-4C79-A913-55BB334A49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8" cy="1600200"/>
          </a:xfrm>
        </p:spPr>
        <p:txBody>
          <a:bodyPr anchor="b"/>
          <a:lstStyle>
            <a:lvl1pPr>
              <a:defRPr sz="2025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EA77883-3D15-455B-9A9C-96A2FCB175D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2025"/>
            </a:lvl1pPr>
            <a:lvl2pPr marL="289347" indent="0">
              <a:buNone/>
              <a:defRPr sz="1772"/>
            </a:lvl2pPr>
            <a:lvl3pPr marL="578694" indent="0">
              <a:buNone/>
              <a:defRPr sz="1518"/>
            </a:lvl3pPr>
            <a:lvl4pPr marL="868041" indent="0">
              <a:buNone/>
              <a:defRPr sz="1265"/>
            </a:lvl4pPr>
            <a:lvl5pPr marL="1157387" indent="0">
              <a:buNone/>
              <a:defRPr sz="1265"/>
            </a:lvl5pPr>
            <a:lvl6pPr marL="1446735" indent="0">
              <a:buNone/>
              <a:defRPr sz="1265"/>
            </a:lvl6pPr>
            <a:lvl7pPr marL="1736082" indent="0">
              <a:buNone/>
              <a:defRPr sz="1265"/>
            </a:lvl7pPr>
            <a:lvl8pPr marL="2025429" indent="0">
              <a:buNone/>
              <a:defRPr sz="1265"/>
            </a:lvl8pPr>
            <a:lvl9pPr marL="2314776" indent="0">
              <a:buNone/>
              <a:defRPr sz="1265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9CDCC3-6B68-4E7C-A101-1483547A9AA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2"/>
            <a:ext cx="3932238" cy="3811588"/>
          </a:xfrm>
        </p:spPr>
        <p:txBody>
          <a:bodyPr/>
          <a:lstStyle>
            <a:lvl1pPr marL="0" indent="0">
              <a:buNone/>
              <a:defRPr sz="1013"/>
            </a:lvl1pPr>
            <a:lvl2pPr marL="289347" indent="0">
              <a:buNone/>
              <a:defRPr sz="886"/>
            </a:lvl2pPr>
            <a:lvl3pPr marL="578694" indent="0">
              <a:buNone/>
              <a:defRPr sz="760"/>
            </a:lvl3pPr>
            <a:lvl4pPr marL="868041" indent="0">
              <a:buNone/>
              <a:defRPr sz="632"/>
            </a:lvl4pPr>
            <a:lvl5pPr marL="1157387" indent="0">
              <a:buNone/>
              <a:defRPr sz="632"/>
            </a:lvl5pPr>
            <a:lvl6pPr marL="1446735" indent="0">
              <a:buNone/>
              <a:defRPr sz="632"/>
            </a:lvl6pPr>
            <a:lvl7pPr marL="1736082" indent="0">
              <a:buNone/>
              <a:defRPr sz="632"/>
            </a:lvl7pPr>
            <a:lvl8pPr marL="2025429" indent="0">
              <a:buNone/>
              <a:defRPr sz="632"/>
            </a:lvl8pPr>
            <a:lvl9pPr marL="2314776" indent="0">
              <a:buNone/>
              <a:defRPr sz="632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C0EEDEC-4A25-4E76-B079-F698737FF9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6A507-6674-4087-9C57-86A734E193FD}" type="datetimeFigureOut">
              <a:rPr lang="en-US" smtClean="0"/>
              <a:t>7/11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3752422-BD25-4049-9528-3BA2F45379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13A1781-BFC8-4532-8C6B-9CD9E0FACE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A450AD-CDA4-4B12-B734-3E81799AF2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208376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D6D419-6DCF-4B16-8C98-D25A53A911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6608380-A79C-48B4-A477-6DA6F97EAB1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B120D78-7671-450A-B8B8-0F493000ED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6A507-6674-4087-9C57-86A734E193FD}" type="datetimeFigureOut">
              <a:rPr lang="en-US" smtClean="0"/>
              <a:t>7/11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D0CA0A-AF12-4049-9B51-C17B7D0258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B32B8B-7637-4639-A3FD-9EC7B052AC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A450AD-CDA4-4B12-B734-3E81799AF2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905046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9285E02-43F3-4C34-9939-0E70D19368D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D88DF0F-7E13-4DD8-976C-78F222799A3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752BAB-3B0F-4CE1-8FCD-91A9041577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6A507-6674-4087-9C57-86A734E193FD}" type="datetimeFigureOut">
              <a:rPr lang="en-US" smtClean="0"/>
              <a:t>7/11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9CE78D-5D90-47B1-9CA7-F6E1F957F7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84B503-4CFE-49C1-84BC-30B14EBDD7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A450AD-CDA4-4B12-B734-3E81799AF2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342223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idx="1" hasCustomPrompt="1"/>
          </p:nvPr>
        </p:nvSpPr>
        <p:spPr>
          <a:xfrm>
            <a:off x="619693" y="1229458"/>
            <a:ext cx="109904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/>
            </a:lvl1pPr>
            <a:lvl2pPr marL="217011" indent="0">
              <a:buNone/>
              <a:defRPr/>
            </a:lvl2pPr>
            <a:lvl3pPr marL="434020" indent="0">
              <a:buNone/>
              <a:defRPr/>
            </a:lvl3pPr>
            <a:lvl4pPr marL="651031" indent="0">
              <a:buNone/>
              <a:defRPr/>
            </a:lvl4pPr>
          </a:lstStyle>
          <a:p>
            <a:pPr lvl="0"/>
            <a:r>
              <a:rPr lang="en-US" dirty="0"/>
              <a:t>Click to edit Master text styles.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9876" y="310017"/>
            <a:ext cx="2221841" cy="294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240445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only ">
    <p:bg>
      <p:bgPr>
        <a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 userDrawn="1"/>
        </p:nvCxnSpPr>
        <p:spPr>
          <a:xfrm>
            <a:off x="358590" y="789555"/>
            <a:ext cx="11587235" cy="0"/>
          </a:xfrm>
          <a:prstGeom prst="line">
            <a:avLst/>
          </a:prstGeom>
          <a:ln w="6350">
            <a:solidFill>
              <a:srgbClr val="DF551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 userDrawn="1"/>
        </p:nvSpPr>
        <p:spPr>
          <a:xfrm>
            <a:off x="358590" y="1199601"/>
            <a:ext cx="8837596" cy="442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Font typeface="Arial"/>
              <a:buNone/>
            </a:pPr>
            <a:endParaRPr lang="en-US" sz="1139" dirty="0">
              <a:solidFill>
                <a:srgbClr val="DF551C"/>
              </a:solidFill>
              <a:latin typeface="Museo Slab 100"/>
              <a:cs typeface="Museo Slab 100"/>
            </a:endParaRPr>
          </a:p>
          <a:p>
            <a:pPr marL="0" indent="0">
              <a:buFont typeface="Arial"/>
              <a:buNone/>
            </a:pPr>
            <a:endParaRPr lang="en-US" sz="1139" dirty="0">
              <a:solidFill>
                <a:srgbClr val="DF551C"/>
              </a:solidFill>
              <a:latin typeface="Museo Slab 100"/>
              <a:cs typeface="Museo Slab 100"/>
            </a:endParaRPr>
          </a:p>
        </p:txBody>
      </p:sp>
    </p:spTree>
    <p:extLst>
      <p:ext uri="{BB962C8B-B14F-4D97-AF65-F5344CB8AC3E}">
        <p14:creationId xmlns:p14="http://schemas.microsoft.com/office/powerpoint/2010/main" val="11372066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62041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249899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drawing of a person&#10;&#10;Description automatically generated">
            <a:extLst>
              <a:ext uri="{FF2B5EF4-FFF2-40B4-BE49-F238E27FC236}">
                <a16:creationId xmlns:a16="http://schemas.microsoft.com/office/drawing/2014/main" id="{1BD738AC-CDEB-4F80-94A7-E9EDEFC141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280" y="6309360"/>
            <a:ext cx="1540764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58980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858980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B268A44-AFA6-4E6A-9043-3B05BB94B5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12192000" cy="914400"/>
          </a:xfrm>
          <a:solidFill>
            <a:schemeClr val="tx2"/>
          </a:solidFill>
        </p:spPr>
        <p:txBody>
          <a:bodyPr anchor="ctr" anchorCtr="1">
            <a:normAutofit/>
          </a:bodyPr>
          <a:lstStyle>
            <a:lvl1pPr marL="0" indent="0">
              <a:buNone/>
              <a:defRPr sz="3600" b="1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CH"/>
              <a:t>Click to </a:t>
            </a:r>
            <a:r>
              <a:rPr lang="fr-CH" err="1"/>
              <a:t>add</a:t>
            </a:r>
            <a:r>
              <a:rPr lang="fr-CH"/>
              <a:t> slide message</a:t>
            </a:r>
            <a:endParaRPr lang="LID4096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6F962F61-47A0-4BC8-8272-DE84D4189D0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57200" y="1371600"/>
            <a:ext cx="11430000" cy="4754880"/>
          </a:xfrm>
        </p:spPr>
        <p:txBody>
          <a:bodyPr anchor="t" anchorCtr="1">
            <a:normAutofit/>
          </a:bodyPr>
          <a:lstStyle>
            <a:lvl1pPr marL="0" indent="0">
              <a:buNone/>
              <a:defRPr sz="2400" baseline="0"/>
            </a:lvl1pPr>
          </a:lstStyle>
          <a:p>
            <a:pPr lvl="0"/>
            <a:r>
              <a:rPr lang="en-US"/>
              <a:t>Click to add chart title</a:t>
            </a:r>
          </a:p>
        </p:txBody>
      </p:sp>
    </p:spTree>
    <p:extLst>
      <p:ext uri="{BB962C8B-B14F-4D97-AF65-F5344CB8AC3E}">
        <p14:creationId xmlns:p14="http://schemas.microsoft.com/office/powerpoint/2010/main" val="38763258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B6F477A-E39C-46AF-BBA5-3E343653EB42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57200" y="1371600"/>
            <a:ext cx="11430000" cy="4754880"/>
          </a:xfrm>
        </p:spPr>
        <p:txBody>
          <a:bodyPr anchor="t" anchorCtr="1">
            <a:normAutofit/>
          </a:bodyPr>
          <a:lstStyle>
            <a:lvl1pPr marL="0" indent="0">
              <a:buNone/>
              <a:defRPr sz="2400" baseline="0"/>
            </a:lvl1pPr>
          </a:lstStyle>
          <a:p>
            <a:pPr lvl="0"/>
            <a:r>
              <a:rPr lang="en-US"/>
              <a:t>Click to add chart 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F628AA1-34C1-48F7-AB8F-F525ED2C316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12192000" cy="914400"/>
          </a:xfrm>
          <a:solidFill>
            <a:schemeClr val="accent2"/>
          </a:solidFill>
        </p:spPr>
        <p:txBody>
          <a:bodyPr anchor="ctr" anchorCtr="1">
            <a:normAutofit/>
          </a:bodyPr>
          <a:lstStyle>
            <a:lvl1pPr marL="0" indent="0">
              <a:buNone/>
              <a:defRPr sz="3600" b="1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CH"/>
              <a:t>Click to </a:t>
            </a:r>
            <a:r>
              <a:rPr lang="fr-CH" err="1"/>
              <a:t>add</a:t>
            </a:r>
            <a:r>
              <a:rPr lang="fr-CH"/>
              <a:t> slide message</a:t>
            </a:r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258148765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B6F477A-E39C-46AF-BBA5-3E343653EB42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57200" y="1371600"/>
            <a:ext cx="11430000" cy="4754880"/>
          </a:xfrm>
        </p:spPr>
        <p:txBody>
          <a:bodyPr anchor="t" anchorCtr="1">
            <a:normAutofit/>
          </a:bodyPr>
          <a:lstStyle>
            <a:lvl1pPr marL="0" indent="0">
              <a:buNone/>
              <a:defRPr sz="2400" baseline="0"/>
            </a:lvl1pPr>
          </a:lstStyle>
          <a:p>
            <a:pPr lvl="0"/>
            <a:r>
              <a:rPr lang="en-US"/>
              <a:t>Click to add chart 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F628AA1-34C1-48F7-AB8F-F525ED2C316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12192000" cy="914400"/>
          </a:xfrm>
          <a:solidFill>
            <a:schemeClr val="accent3"/>
          </a:solidFill>
        </p:spPr>
        <p:txBody>
          <a:bodyPr anchor="ctr" anchorCtr="1">
            <a:normAutofit/>
          </a:bodyPr>
          <a:lstStyle>
            <a:lvl1pPr marL="0" indent="0">
              <a:buNone/>
              <a:defRPr sz="3600" b="1" i="0" baseline="0"/>
            </a:lvl1pPr>
          </a:lstStyle>
          <a:p>
            <a:pPr lvl="0"/>
            <a:r>
              <a:rPr lang="fr-CH"/>
              <a:t>Click to </a:t>
            </a:r>
            <a:r>
              <a:rPr lang="fr-CH" err="1"/>
              <a:t>add</a:t>
            </a:r>
            <a:r>
              <a:rPr lang="fr-CH"/>
              <a:t> slide message</a:t>
            </a:r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148253925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rgbClr val="1E7F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6757237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3F5EEB-5400-4EC3-982C-0B9ECA14C0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789D07-1B01-4636-BE41-3787B2DFE5B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9827497-3EFF-4293-B8FD-34B541C358A6}"/>
              </a:ext>
            </a:extLst>
          </p:cNvPr>
          <p:cNvSpPr/>
          <p:nvPr userDrawn="1"/>
        </p:nvSpPr>
        <p:spPr bwMode="auto">
          <a:xfrm>
            <a:off x="344041" y="6303082"/>
            <a:ext cx="6244852" cy="422970"/>
          </a:xfrm>
          <a:prstGeom prst="rect">
            <a:avLst/>
          </a:prstGeom>
          <a:solidFill>
            <a:srgbClr val="1E7FB8"/>
          </a:solidFill>
          <a:ln w="9525" cap="flat" cmpd="sng" algn="ctr">
            <a:solidFill>
              <a:srgbClr val="1E7FB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935" tIns="41468" rIns="82935" bIns="41468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4599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537" b="1" i="0" u="none" strike="noStrike" cap="none" normalizeH="0" baseline="0">
              <a:ln>
                <a:noFill/>
              </a:ln>
              <a:solidFill>
                <a:srgbClr val="000066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15323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B6F477A-E39C-46AF-BBA5-3E343653EB42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57200" y="1371600"/>
            <a:ext cx="11430000" cy="4389120"/>
          </a:xfrm>
        </p:spPr>
        <p:txBody>
          <a:bodyPr anchor="t" anchorCtr="1">
            <a:normAutofit/>
          </a:bodyPr>
          <a:lstStyle>
            <a:lvl1pPr marL="0" indent="0">
              <a:buNone/>
              <a:defRPr sz="2000" baseline="0"/>
            </a:lvl1pPr>
          </a:lstStyle>
          <a:p>
            <a:pPr lvl="0"/>
            <a:r>
              <a:rPr lang="fr-CH"/>
              <a:t>Click to </a:t>
            </a:r>
            <a:r>
              <a:rPr lang="fr-CH" err="1"/>
              <a:t>add</a:t>
            </a:r>
            <a:r>
              <a:rPr lang="fr-CH"/>
              <a:t> chart </a:t>
            </a:r>
            <a:r>
              <a:rPr lang="fr-CH" err="1"/>
              <a:t>title</a:t>
            </a:r>
            <a:endParaRPr lang="LID4096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F628AA1-34C1-48F7-AB8F-F525ED2C316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12192000" cy="914400"/>
          </a:xfrm>
          <a:solidFill>
            <a:schemeClr val="tx2"/>
          </a:solidFill>
        </p:spPr>
        <p:txBody>
          <a:bodyPr lIns="182880" tIns="91440" rIns="182880" anchor="ctr" anchorCtr="1">
            <a:normAutofit/>
          </a:bodyPr>
          <a:lstStyle>
            <a:lvl1pPr marL="0" indent="0">
              <a:buNone/>
              <a:defRPr sz="3600" b="1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CH"/>
              <a:t>Click to </a:t>
            </a:r>
            <a:r>
              <a:rPr lang="fr-CH" err="1"/>
              <a:t>add</a:t>
            </a:r>
            <a:r>
              <a:rPr lang="fr-CH"/>
              <a:t> slide message</a:t>
            </a:r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391962159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B70729-F57C-47EC-B16B-763FE8D749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2589" y="1709101"/>
            <a:ext cx="10514153" cy="2853780"/>
          </a:xfrm>
        </p:spPr>
        <p:txBody>
          <a:bodyPr anchor="b"/>
          <a:lstStyle>
            <a:lvl1pPr>
              <a:defRPr sz="5442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86CC8E-D443-4558-B100-61298A5055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2589" y="4588799"/>
            <a:ext cx="10514153" cy="1500322"/>
          </a:xfrm>
        </p:spPr>
        <p:txBody>
          <a:bodyPr/>
          <a:lstStyle>
            <a:lvl1pPr marL="0" indent="0">
              <a:buNone/>
              <a:defRPr sz="2177"/>
            </a:lvl1pPr>
            <a:lvl2pPr marL="414680" indent="0">
              <a:buNone/>
              <a:defRPr sz="1814"/>
            </a:lvl2pPr>
            <a:lvl3pPr marL="829361" indent="0">
              <a:buNone/>
              <a:defRPr sz="1633"/>
            </a:lvl3pPr>
            <a:lvl4pPr marL="1244041" indent="0">
              <a:buNone/>
              <a:defRPr sz="1451"/>
            </a:lvl4pPr>
            <a:lvl5pPr marL="1658722" indent="0">
              <a:buNone/>
              <a:defRPr sz="1451"/>
            </a:lvl5pPr>
            <a:lvl6pPr marL="2073402" indent="0">
              <a:buNone/>
              <a:defRPr sz="1451"/>
            </a:lvl6pPr>
            <a:lvl7pPr marL="2488082" indent="0">
              <a:buNone/>
              <a:defRPr sz="1451"/>
            </a:lvl7pPr>
            <a:lvl8pPr marL="2902763" indent="0">
              <a:buNone/>
              <a:defRPr sz="1451"/>
            </a:lvl8pPr>
            <a:lvl9pPr marL="3317443" indent="0">
              <a:buNone/>
              <a:defRPr sz="1451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696826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5D23B1-BE1A-4D0E-9864-FD667B854F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F8DFDE-70FB-4D54-A29E-25444C05200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90053" y="1380815"/>
            <a:ext cx="5440789" cy="461183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A368C89-8DE6-46FC-9ADE-F0063046E0A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599" y="1380815"/>
            <a:ext cx="5440789" cy="461183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6663475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8B4283-06CE-4B84-A39F-1ECC00BE95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830" y="365722"/>
            <a:ext cx="10515962" cy="13246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A0DE107-D7E9-4CE5-8DAC-D9244CB341B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830" y="1681744"/>
            <a:ext cx="5158432" cy="823593"/>
          </a:xfrm>
        </p:spPr>
        <p:txBody>
          <a:bodyPr anchor="b"/>
          <a:lstStyle>
            <a:lvl1pPr marL="0" indent="0">
              <a:buNone/>
              <a:defRPr sz="2177" b="1"/>
            </a:lvl1pPr>
            <a:lvl2pPr marL="414680" indent="0">
              <a:buNone/>
              <a:defRPr sz="1814" b="1"/>
            </a:lvl2pPr>
            <a:lvl3pPr marL="829361" indent="0">
              <a:buNone/>
              <a:defRPr sz="1633" b="1"/>
            </a:lvl3pPr>
            <a:lvl4pPr marL="1244041" indent="0">
              <a:buNone/>
              <a:defRPr sz="1451" b="1"/>
            </a:lvl4pPr>
            <a:lvl5pPr marL="1658722" indent="0">
              <a:buNone/>
              <a:defRPr sz="1451" b="1"/>
            </a:lvl5pPr>
            <a:lvl6pPr marL="2073402" indent="0">
              <a:buNone/>
              <a:defRPr sz="1451" b="1"/>
            </a:lvl6pPr>
            <a:lvl7pPr marL="2488082" indent="0">
              <a:buNone/>
              <a:defRPr sz="1451" b="1"/>
            </a:lvl7pPr>
            <a:lvl8pPr marL="2902763" indent="0">
              <a:buNone/>
              <a:defRPr sz="1451" b="1"/>
            </a:lvl8pPr>
            <a:lvl9pPr marL="3317443" indent="0">
              <a:buNone/>
              <a:defRPr sz="1451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9803A11-2E0F-4FEF-8E24-263EF1A37A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830" y="2505337"/>
            <a:ext cx="5158432" cy="368457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EF150C1-095A-4E69-960C-141843BE444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019" y="1681744"/>
            <a:ext cx="5183772" cy="823593"/>
          </a:xfrm>
        </p:spPr>
        <p:txBody>
          <a:bodyPr anchor="b"/>
          <a:lstStyle>
            <a:lvl1pPr marL="0" indent="0">
              <a:buNone/>
              <a:defRPr sz="2177" b="1"/>
            </a:lvl1pPr>
            <a:lvl2pPr marL="414680" indent="0">
              <a:buNone/>
              <a:defRPr sz="1814" b="1"/>
            </a:lvl2pPr>
            <a:lvl3pPr marL="829361" indent="0">
              <a:buNone/>
              <a:defRPr sz="1633" b="1"/>
            </a:lvl3pPr>
            <a:lvl4pPr marL="1244041" indent="0">
              <a:buNone/>
              <a:defRPr sz="1451" b="1"/>
            </a:lvl4pPr>
            <a:lvl5pPr marL="1658722" indent="0">
              <a:buNone/>
              <a:defRPr sz="1451" b="1"/>
            </a:lvl5pPr>
            <a:lvl6pPr marL="2073402" indent="0">
              <a:buNone/>
              <a:defRPr sz="1451" b="1"/>
            </a:lvl6pPr>
            <a:lvl7pPr marL="2488082" indent="0">
              <a:buNone/>
              <a:defRPr sz="1451" b="1"/>
            </a:lvl7pPr>
            <a:lvl8pPr marL="2902763" indent="0">
              <a:buNone/>
              <a:defRPr sz="1451" b="1"/>
            </a:lvl8pPr>
            <a:lvl9pPr marL="3317443" indent="0">
              <a:buNone/>
              <a:defRPr sz="1451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2FF5643-8365-4EE5-80CF-7FB97BD6ACE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019" y="2505337"/>
            <a:ext cx="5183772" cy="368457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2542071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4D5FD9-BDE1-47AC-A4F8-638023A98A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9220461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202350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E67CB1-7D58-4BBF-9A85-F4F4E53680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829" y="457873"/>
            <a:ext cx="3933079" cy="1599672"/>
          </a:xfrm>
        </p:spPr>
        <p:txBody>
          <a:bodyPr anchor="b"/>
          <a:lstStyle>
            <a:lvl1pPr>
              <a:defRPr sz="2902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EC78672-942A-4864-ABA7-8EA3476D28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773" y="987736"/>
            <a:ext cx="6172019" cy="4873888"/>
          </a:xfrm>
        </p:spPr>
        <p:txBody>
          <a:bodyPr/>
          <a:lstStyle>
            <a:lvl1pPr>
              <a:defRPr sz="2902"/>
            </a:lvl1pPr>
            <a:lvl2pPr>
              <a:defRPr sz="2540"/>
            </a:lvl2pPr>
            <a:lvl3pPr>
              <a:defRPr sz="2177"/>
            </a:lvl3pPr>
            <a:lvl4pPr>
              <a:defRPr sz="1814"/>
            </a:lvl4pPr>
            <a:lvl5pPr>
              <a:defRPr sz="1814"/>
            </a:lvl5pPr>
            <a:lvl6pPr>
              <a:defRPr sz="1814"/>
            </a:lvl6pPr>
            <a:lvl7pPr>
              <a:defRPr sz="1814"/>
            </a:lvl7pPr>
            <a:lvl8pPr>
              <a:defRPr sz="1814"/>
            </a:lvl8pPr>
            <a:lvl9pPr>
              <a:defRPr sz="1814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EFA62F4-F003-4692-BDCA-81D73C3E054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829" y="2057544"/>
            <a:ext cx="3933079" cy="3811279"/>
          </a:xfrm>
        </p:spPr>
        <p:txBody>
          <a:bodyPr/>
          <a:lstStyle>
            <a:lvl1pPr marL="0" indent="0">
              <a:buNone/>
              <a:defRPr sz="1451"/>
            </a:lvl1pPr>
            <a:lvl2pPr marL="414680" indent="0">
              <a:buNone/>
              <a:defRPr sz="1270"/>
            </a:lvl2pPr>
            <a:lvl3pPr marL="829361" indent="0">
              <a:buNone/>
              <a:defRPr sz="1088"/>
            </a:lvl3pPr>
            <a:lvl4pPr marL="1244041" indent="0">
              <a:buNone/>
              <a:defRPr sz="907"/>
            </a:lvl4pPr>
            <a:lvl5pPr marL="1658722" indent="0">
              <a:buNone/>
              <a:defRPr sz="907"/>
            </a:lvl5pPr>
            <a:lvl6pPr marL="2073402" indent="0">
              <a:buNone/>
              <a:defRPr sz="907"/>
            </a:lvl6pPr>
            <a:lvl7pPr marL="2488082" indent="0">
              <a:buNone/>
              <a:defRPr sz="907"/>
            </a:lvl7pPr>
            <a:lvl8pPr marL="2902763" indent="0">
              <a:buNone/>
              <a:defRPr sz="907"/>
            </a:lvl8pPr>
            <a:lvl9pPr marL="3317443" indent="0">
              <a:buNone/>
              <a:defRPr sz="907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596051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CECC45-AA5C-4EDA-98C7-E699FEA83E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829" y="457873"/>
            <a:ext cx="3933079" cy="1599672"/>
          </a:xfrm>
        </p:spPr>
        <p:txBody>
          <a:bodyPr anchor="b"/>
          <a:lstStyle>
            <a:lvl1pPr>
              <a:defRPr sz="2902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31AB290-389B-433D-905E-EA67A97D6B2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773" y="987736"/>
            <a:ext cx="6172019" cy="4873888"/>
          </a:xfrm>
        </p:spPr>
        <p:txBody>
          <a:bodyPr/>
          <a:lstStyle>
            <a:lvl1pPr marL="0" indent="0">
              <a:buNone/>
              <a:defRPr sz="2902"/>
            </a:lvl1pPr>
            <a:lvl2pPr marL="414680" indent="0">
              <a:buNone/>
              <a:defRPr sz="2540"/>
            </a:lvl2pPr>
            <a:lvl3pPr marL="829361" indent="0">
              <a:buNone/>
              <a:defRPr sz="2177"/>
            </a:lvl3pPr>
            <a:lvl4pPr marL="1244041" indent="0">
              <a:buNone/>
              <a:defRPr sz="1814"/>
            </a:lvl4pPr>
            <a:lvl5pPr marL="1658722" indent="0">
              <a:buNone/>
              <a:defRPr sz="1814"/>
            </a:lvl5pPr>
            <a:lvl6pPr marL="2073402" indent="0">
              <a:buNone/>
              <a:defRPr sz="1814"/>
            </a:lvl6pPr>
            <a:lvl7pPr marL="2488082" indent="0">
              <a:buNone/>
              <a:defRPr sz="1814"/>
            </a:lvl7pPr>
            <a:lvl8pPr marL="2902763" indent="0">
              <a:buNone/>
              <a:defRPr sz="1814"/>
            </a:lvl8pPr>
            <a:lvl9pPr marL="3317443" indent="0">
              <a:buNone/>
              <a:defRPr sz="1814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3B6BD1E-DFFB-4EC1-A12F-074BF404417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829" y="2057544"/>
            <a:ext cx="3933079" cy="3811279"/>
          </a:xfrm>
        </p:spPr>
        <p:txBody>
          <a:bodyPr/>
          <a:lstStyle>
            <a:lvl1pPr marL="0" indent="0">
              <a:buNone/>
              <a:defRPr sz="1451"/>
            </a:lvl1pPr>
            <a:lvl2pPr marL="414680" indent="0">
              <a:buNone/>
              <a:defRPr sz="1270"/>
            </a:lvl2pPr>
            <a:lvl3pPr marL="829361" indent="0">
              <a:buNone/>
              <a:defRPr sz="1088"/>
            </a:lvl3pPr>
            <a:lvl4pPr marL="1244041" indent="0">
              <a:buNone/>
              <a:defRPr sz="907"/>
            </a:lvl4pPr>
            <a:lvl5pPr marL="1658722" indent="0">
              <a:buNone/>
              <a:defRPr sz="907"/>
            </a:lvl5pPr>
            <a:lvl6pPr marL="2073402" indent="0">
              <a:buNone/>
              <a:defRPr sz="907"/>
            </a:lvl6pPr>
            <a:lvl7pPr marL="2488082" indent="0">
              <a:buNone/>
              <a:defRPr sz="907"/>
            </a:lvl7pPr>
            <a:lvl8pPr marL="2902763" indent="0">
              <a:buNone/>
              <a:defRPr sz="907"/>
            </a:lvl8pPr>
            <a:lvl9pPr marL="3317443" indent="0">
              <a:buNone/>
              <a:defRPr sz="907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2664562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AC4E48-E762-4385-8F44-E27971D920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CF6D78C-D75E-492E-8F15-E0669EB1441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71059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463CF99-1CC1-4C2C-A2D7-C59BD33C922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9144000" y="1"/>
            <a:ext cx="3048000" cy="599265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BA53CD8-3667-4445-B8D6-6EBA50414E1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0" y="1"/>
            <a:ext cx="8970242" cy="5992650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9266258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774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3"/>
          </a:xfrm>
        </p:spPr>
        <p:txBody>
          <a:bodyPr/>
          <a:lstStyle>
            <a:lvl1pPr marL="0" indent="0" algn="ctr">
              <a:buNone/>
              <a:defRPr sz="1909"/>
            </a:lvl1pPr>
            <a:lvl2pPr marL="363707" indent="0" algn="ctr">
              <a:buNone/>
              <a:defRPr sz="1591"/>
            </a:lvl2pPr>
            <a:lvl3pPr marL="727414" indent="0" algn="ctr">
              <a:buNone/>
              <a:defRPr sz="1432"/>
            </a:lvl3pPr>
            <a:lvl4pPr marL="1091122" indent="0" algn="ctr">
              <a:buNone/>
              <a:defRPr sz="1273"/>
            </a:lvl4pPr>
            <a:lvl5pPr marL="1454828" indent="0" algn="ctr">
              <a:buNone/>
              <a:defRPr sz="1273"/>
            </a:lvl5pPr>
            <a:lvl6pPr marL="1818536" indent="0" algn="ctr">
              <a:buNone/>
              <a:defRPr sz="1273"/>
            </a:lvl6pPr>
            <a:lvl7pPr marL="2182242" indent="0" algn="ctr">
              <a:buNone/>
              <a:defRPr sz="1273"/>
            </a:lvl7pPr>
            <a:lvl8pPr marL="2545950" indent="0" algn="ctr">
              <a:buNone/>
              <a:defRPr sz="1273"/>
            </a:lvl8pPr>
            <a:lvl9pPr marL="2909657" indent="0" algn="ctr">
              <a:buNone/>
              <a:defRPr sz="1273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6A96AA-8478-2146-B25B-AD2E1988584C}" type="datetimeFigureOut">
              <a:rPr lang="en-US" smtClean="0"/>
              <a:t>7/11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6306C9-9015-2443-9079-7DD3ECAFD5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9607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250"/>
    </mc:Choice>
    <mc:Fallback xmlns="">
      <p:transition spd="slow"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B6F477A-E39C-46AF-BBA5-3E343653EB42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57200" y="1371600"/>
            <a:ext cx="11430000" cy="4389120"/>
          </a:xfrm>
        </p:spPr>
        <p:txBody>
          <a:bodyPr anchor="t" anchorCtr="1">
            <a:normAutofit/>
          </a:bodyPr>
          <a:lstStyle>
            <a:lvl1pPr marL="0" indent="0">
              <a:buNone/>
              <a:defRPr sz="2000" baseline="0"/>
            </a:lvl1pPr>
          </a:lstStyle>
          <a:p>
            <a:pPr lvl="0"/>
            <a:r>
              <a:rPr lang="en-US"/>
              <a:t>Click to add chart 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F628AA1-34C1-48F7-AB8F-F525ED2C316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12192000" cy="914400"/>
          </a:xfrm>
          <a:solidFill>
            <a:schemeClr val="accent2"/>
          </a:solidFill>
        </p:spPr>
        <p:txBody>
          <a:bodyPr lIns="182880" tIns="91440" rIns="182880" anchor="ctr" anchorCtr="1">
            <a:normAutofit/>
          </a:bodyPr>
          <a:lstStyle>
            <a:lvl1pPr marL="0" indent="0">
              <a:buNone/>
              <a:defRPr sz="3600" b="1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CH"/>
              <a:t>Click to </a:t>
            </a:r>
            <a:r>
              <a:rPr lang="fr-CH" err="1"/>
              <a:t>add</a:t>
            </a:r>
            <a:r>
              <a:rPr lang="fr-CH"/>
              <a:t> slide message</a:t>
            </a:r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321473031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rgbClr val="1E7F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8210389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3F5EEB-5400-4EC3-982C-0B9ECA14C0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789D07-1B01-4636-BE41-3787B2DFE5B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9827497-3EFF-4293-B8FD-34B541C358A6}"/>
              </a:ext>
            </a:extLst>
          </p:cNvPr>
          <p:cNvSpPr/>
          <p:nvPr userDrawn="1"/>
        </p:nvSpPr>
        <p:spPr bwMode="auto">
          <a:xfrm>
            <a:off x="344041" y="6303082"/>
            <a:ext cx="6244852" cy="422970"/>
          </a:xfrm>
          <a:prstGeom prst="rect">
            <a:avLst/>
          </a:prstGeom>
          <a:solidFill>
            <a:srgbClr val="1E7FB8"/>
          </a:solidFill>
          <a:ln w="9525" cap="flat" cmpd="sng" algn="ctr">
            <a:solidFill>
              <a:srgbClr val="1E7FB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5975" tIns="32988" rIns="65975" bIns="32988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752563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14" b="1" i="0" u="none" strike="noStrike" cap="none" normalizeH="0" baseline="0">
              <a:ln>
                <a:noFill/>
              </a:ln>
              <a:solidFill>
                <a:srgbClr val="000066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319284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B70729-F57C-47EC-B16B-763FE8D749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2590" y="1709101"/>
            <a:ext cx="10514153" cy="2853780"/>
          </a:xfrm>
        </p:spPr>
        <p:txBody>
          <a:bodyPr anchor="b"/>
          <a:lstStyle>
            <a:lvl1pPr>
              <a:defRPr sz="432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86CC8E-D443-4558-B100-61298A5055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2590" y="4588799"/>
            <a:ext cx="10514153" cy="1500322"/>
          </a:xfrm>
        </p:spPr>
        <p:txBody>
          <a:bodyPr/>
          <a:lstStyle>
            <a:lvl1pPr marL="0" indent="0">
              <a:buNone/>
              <a:defRPr sz="1731"/>
            </a:lvl1pPr>
            <a:lvl2pPr marL="329890" indent="0">
              <a:buNone/>
              <a:defRPr sz="1443"/>
            </a:lvl2pPr>
            <a:lvl3pPr marL="659782" indent="0">
              <a:buNone/>
              <a:defRPr sz="1299"/>
            </a:lvl3pPr>
            <a:lvl4pPr marL="989671" indent="0">
              <a:buNone/>
              <a:defRPr sz="1155"/>
            </a:lvl4pPr>
            <a:lvl5pPr marL="1319563" indent="0">
              <a:buNone/>
              <a:defRPr sz="1155"/>
            </a:lvl5pPr>
            <a:lvl6pPr marL="1649453" indent="0">
              <a:buNone/>
              <a:defRPr sz="1155"/>
            </a:lvl6pPr>
            <a:lvl7pPr marL="1979343" indent="0">
              <a:buNone/>
              <a:defRPr sz="1155"/>
            </a:lvl7pPr>
            <a:lvl8pPr marL="2309234" indent="0">
              <a:buNone/>
              <a:defRPr sz="1155"/>
            </a:lvl8pPr>
            <a:lvl9pPr marL="2639124" indent="0">
              <a:buNone/>
              <a:defRPr sz="1155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6538557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5D23B1-BE1A-4D0E-9864-FD667B854F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F8DFDE-70FB-4D54-A29E-25444C05200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90054" y="1380815"/>
            <a:ext cx="5440789" cy="461183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A368C89-8DE6-46FC-9ADE-F0063046E0A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600" y="1380815"/>
            <a:ext cx="5440789" cy="461183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619494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8B4283-06CE-4B84-A39F-1ECC00BE95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831" y="365722"/>
            <a:ext cx="10515962" cy="13246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A0DE107-D7E9-4CE5-8DAC-D9244CB341B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831" y="1681745"/>
            <a:ext cx="5158432" cy="823593"/>
          </a:xfrm>
        </p:spPr>
        <p:txBody>
          <a:bodyPr anchor="b"/>
          <a:lstStyle>
            <a:lvl1pPr marL="0" indent="0">
              <a:buNone/>
              <a:defRPr sz="1731" b="1"/>
            </a:lvl1pPr>
            <a:lvl2pPr marL="329890" indent="0">
              <a:buNone/>
              <a:defRPr sz="1443" b="1"/>
            </a:lvl2pPr>
            <a:lvl3pPr marL="659782" indent="0">
              <a:buNone/>
              <a:defRPr sz="1299" b="1"/>
            </a:lvl3pPr>
            <a:lvl4pPr marL="989671" indent="0">
              <a:buNone/>
              <a:defRPr sz="1155" b="1"/>
            </a:lvl4pPr>
            <a:lvl5pPr marL="1319563" indent="0">
              <a:buNone/>
              <a:defRPr sz="1155" b="1"/>
            </a:lvl5pPr>
            <a:lvl6pPr marL="1649453" indent="0">
              <a:buNone/>
              <a:defRPr sz="1155" b="1"/>
            </a:lvl6pPr>
            <a:lvl7pPr marL="1979343" indent="0">
              <a:buNone/>
              <a:defRPr sz="1155" b="1"/>
            </a:lvl7pPr>
            <a:lvl8pPr marL="2309234" indent="0">
              <a:buNone/>
              <a:defRPr sz="1155" b="1"/>
            </a:lvl8pPr>
            <a:lvl9pPr marL="2639124" indent="0">
              <a:buNone/>
              <a:defRPr sz="1155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9803A11-2E0F-4FEF-8E24-263EF1A37A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831" y="2505338"/>
            <a:ext cx="5158432" cy="368457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EF150C1-095A-4E69-960C-141843BE444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019" y="1681745"/>
            <a:ext cx="5183772" cy="823593"/>
          </a:xfrm>
        </p:spPr>
        <p:txBody>
          <a:bodyPr anchor="b"/>
          <a:lstStyle>
            <a:lvl1pPr marL="0" indent="0">
              <a:buNone/>
              <a:defRPr sz="1731" b="1"/>
            </a:lvl1pPr>
            <a:lvl2pPr marL="329890" indent="0">
              <a:buNone/>
              <a:defRPr sz="1443" b="1"/>
            </a:lvl2pPr>
            <a:lvl3pPr marL="659782" indent="0">
              <a:buNone/>
              <a:defRPr sz="1299" b="1"/>
            </a:lvl3pPr>
            <a:lvl4pPr marL="989671" indent="0">
              <a:buNone/>
              <a:defRPr sz="1155" b="1"/>
            </a:lvl4pPr>
            <a:lvl5pPr marL="1319563" indent="0">
              <a:buNone/>
              <a:defRPr sz="1155" b="1"/>
            </a:lvl5pPr>
            <a:lvl6pPr marL="1649453" indent="0">
              <a:buNone/>
              <a:defRPr sz="1155" b="1"/>
            </a:lvl6pPr>
            <a:lvl7pPr marL="1979343" indent="0">
              <a:buNone/>
              <a:defRPr sz="1155" b="1"/>
            </a:lvl7pPr>
            <a:lvl8pPr marL="2309234" indent="0">
              <a:buNone/>
              <a:defRPr sz="1155" b="1"/>
            </a:lvl8pPr>
            <a:lvl9pPr marL="2639124" indent="0">
              <a:buNone/>
              <a:defRPr sz="1155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2FF5643-8365-4EE5-80CF-7FB97BD6ACE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019" y="2505338"/>
            <a:ext cx="5183772" cy="368457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7262877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4D5FD9-BDE1-47AC-A4F8-638023A98A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4511933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042505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E67CB1-7D58-4BBF-9A85-F4F4E53680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829" y="457873"/>
            <a:ext cx="3933079" cy="1599672"/>
          </a:xfrm>
        </p:spPr>
        <p:txBody>
          <a:bodyPr anchor="b"/>
          <a:lstStyle>
            <a:lvl1pPr>
              <a:defRPr sz="230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EC78672-942A-4864-ABA7-8EA3476D28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774" y="987736"/>
            <a:ext cx="6172019" cy="4873888"/>
          </a:xfrm>
        </p:spPr>
        <p:txBody>
          <a:bodyPr/>
          <a:lstStyle>
            <a:lvl1pPr>
              <a:defRPr sz="2308"/>
            </a:lvl1pPr>
            <a:lvl2pPr>
              <a:defRPr sz="2021"/>
            </a:lvl2pPr>
            <a:lvl3pPr>
              <a:defRPr sz="1731"/>
            </a:lvl3pPr>
            <a:lvl4pPr>
              <a:defRPr sz="1443"/>
            </a:lvl4pPr>
            <a:lvl5pPr>
              <a:defRPr sz="1443"/>
            </a:lvl5pPr>
            <a:lvl6pPr>
              <a:defRPr sz="1443"/>
            </a:lvl6pPr>
            <a:lvl7pPr>
              <a:defRPr sz="1443"/>
            </a:lvl7pPr>
            <a:lvl8pPr>
              <a:defRPr sz="1443"/>
            </a:lvl8pPr>
            <a:lvl9pPr>
              <a:defRPr sz="1443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EFA62F4-F003-4692-BDCA-81D73C3E054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829" y="2057544"/>
            <a:ext cx="3933079" cy="3811279"/>
          </a:xfrm>
        </p:spPr>
        <p:txBody>
          <a:bodyPr/>
          <a:lstStyle>
            <a:lvl1pPr marL="0" indent="0">
              <a:buNone/>
              <a:defRPr sz="1155"/>
            </a:lvl1pPr>
            <a:lvl2pPr marL="329890" indent="0">
              <a:buNone/>
              <a:defRPr sz="1010"/>
            </a:lvl2pPr>
            <a:lvl3pPr marL="659782" indent="0">
              <a:buNone/>
              <a:defRPr sz="865"/>
            </a:lvl3pPr>
            <a:lvl4pPr marL="989671" indent="0">
              <a:buNone/>
              <a:defRPr sz="722"/>
            </a:lvl4pPr>
            <a:lvl5pPr marL="1319563" indent="0">
              <a:buNone/>
              <a:defRPr sz="722"/>
            </a:lvl5pPr>
            <a:lvl6pPr marL="1649453" indent="0">
              <a:buNone/>
              <a:defRPr sz="722"/>
            </a:lvl6pPr>
            <a:lvl7pPr marL="1979343" indent="0">
              <a:buNone/>
              <a:defRPr sz="722"/>
            </a:lvl7pPr>
            <a:lvl8pPr marL="2309234" indent="0">
              <a:buNone/>
              <a:defRPr sz="722"/>
            </a:lvl8pPr>
            <a:lvl9pPr marL="2639124" indent="0">
              <a:buNone/>
              <a:defRPr sz="722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190857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CECC45-AA5C-4EDA-98C7-E699FEA83E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829" y="457873"/>
            <a:ext cx="3933079" cy="1599672"/>
          </a:xfrm>
        </p:spPr>
        <p:txBody>
          <a:bodyPr anchor="b"/>
          <a:lstStyle>
            <a:lvl1pPr>
              <a:defRPr sz="230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31AB290-389B-433D-905E-EA67A97D6B2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774" y="987736"/>
            <a:ext cx="6172019" cy="4873888"/>
          </a:xfrm>
        </p:spPr>
        <p:txBody>
          <a:bodyPr/>
          <a:lstStyle>
            <a:lvl1pPr marL="0" indent="0">
              <a:buNone/>
              <a:defRPr sz="2308"/>
            </a:lvl1pPr>
            <a:lvl2pPr marL="329890" indent="0">
              <a:buNone/>
              <a:defRPr sz="2021"/>
            </a:lvl2pPr>
            <a:lvl3pPr marL="659782" indent="0">
              <a:buNone/>
              <a:defRPr sz="1731"/>
            </a:lvl3pPr>
            <a:lvl4pPr marL="989671" indent="0">
              <a:buNone/>
              <a:defRPr sz="1443"/>
            </a:lvl4pPr>
            <a:lvl5pPr marL="1319563" indent="0">
              <a:buNone/>
              <a:defRPr sz="1443"/>
            </a:lvl5pPr>
            <a:lvl6pPr marL="1649453" indent="0">
              <a:buNone/>
              <a:defRPr sz="1443"/>
            </a:lvl6pPr>
            <a:lvl7pPr marL="1979343" indent="0">
              <a:buNone/>
              <a:defRPr sz="1443"/>
            </a:lvl7pPr>
            <a:lvl8pPr marL="2309234" indent="0">
              <a:buNone/>
              <a:defRPr sz="1443"/>
            </a:lvl8pPr>
            <a:lvl9pPr marL="2639124" indent="0">
              <a:buNone/>
              <a:defRPr sz="1443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3B6BD1E-DFFB-4EC1-A12F-074BF404417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829" y="2057544"/>
            <a:ext cx="3933079" cy="3811279"/>
          </a:xfrm>
        </p:spPr>
        <p:txBody>
          <a:bodyPr/>
          <a:lstStyle>
            <a:lvl1pPr marL="0" indent="0">
              <a:buNone/>
              <a:defRPr sz="1155"/>
            </a:lvl1pPr>
            <a:lvl2pPr marL="329890" indent="0">
              <a:buNone/>
              <a:defRPr sz="1010"/>
            </a:lvl2pPr>
            <a:lvl3pPr marL="659782" indent="0">
              <a:buNone/>
              <a:defRPr sz="865"/>
            </a:lvl3pPr>
            <a:lvl4pPr marL="989671" indent="0">
              <a:buNone/>
              <a:defRPr sz="722"/>
            </a:lvl4pPr>
            <a:lvl5pPr marL="1319563" indent="0">
              <a:buNone/>
              <a:defRPr sz="722"/>
            </a:lvl5pPr>
            <a:lvl6pPr marL="1649453" indent="0">
              <a:buNone/>
              <a:defRPr sz="722"/>
            </a:lvl6pPr>
            <a:lvl7pPr marL="1979343" indent="0">
              <a:buNone/>
              <a:defRPr sz="722"/>
            </a:lvl7pPr>
            <a:lvl8pPr marL="2309234" indent="0">
              <a:buNone/>
              <a:defRPr sz="722"/>
            </a:lvl8pPr>
            <a:lvl9pPr marL="2639124" indent="0">
              <a:buNone/>
              <a:defRPr sz="722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832888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AC4E48-E762-4385-8F44-E27971D920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CF6D78C-D75E-492E-8F15-E0669EB1441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121761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B6F477A-E39C-46AF-BBA5-3E343653EB42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57200" y="1371600"/>
            <a:ext cx="11430000" cy="4389120"/>
          </a:xfrm>
        </p:spPr>
        <p:txBody>
          <a:bodyPr anchor="t" anchorCtr="1">
            <a:normAutofit/>
          </a:bodyPr>
          <a:lstStyle>
            <a:lvl1pPr marL="0" indent="0">
              <a:buNone/>
              <a:defRPr sz="2000" baseline="0"/>
            </a:lvl1pPr>
          </a:lstStyle>
          <a:p>
            <a:pPr lvl="0"/>
            <a:r>
              <a:rPr lang="en-US"/>
              <a:t>Click to add chart 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F628AA1-34C1-48F7-AB8F-F525ED2C316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12192000" cy="914400"/>
          </a:xfrm>
          <a:solidFill>
            <a:schemeClr val="accent3"/>
          </a:solidFill>
        </p:spPr>
        <p:txBody>
          <a:bodyPr lIns="182880" tIns="91440" rIns="182880" anchor="ctr" anchorCtr="1">
            <a:normAutofit/>
          </a:bodyPr>
          <a:lstStyle>
            <a:lvl1pPr marL="0" indent="0">
              <a:buNone/>
              <a:defRPr sz="3600" b="1" i="0" baseline="0"/>
            </a:lvl1pPr>
          </a:lstStyle>
          <a:p>
            <a:pPr lvl="0"/>
            <a:r>
              <a:rPr lang="fr-CH"/>
              <a:t>Click to </a:t>
            </a:r>
            <a:r>
              <a:rPr lang="fr-CH" err="1"/>
              <a:t>add</a:t>
            </a:r>
            <a:r>
              <a:rPr lang="fr-CH"/>
              <a:t> slide message</a:t>
            </a:r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141320643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463CF99-1CC1-4C2C-A2D7-C59BD33C922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9144000" y="1"/>
            <a:ext cx="3048000" cy="599265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BA53CD8-3667-4445-B8D6-6EBA50414E1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0" y="1"/>
            <a:ext cx="8970242" cy="5992650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2354467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FEB4B4A-D3B3-404B-86BF-A24B36DEEEC2}"/>
              </a:ext>
            </a:extLst>
          </p:cNvPr>
          <p:cNvSpPr/>
          <p:nvPr userDrawn="1"/>
        </p:nvSpPr>
        <p:spPr>
          <a:xfrm>
            <a:off x="0" y="0"/>
            <a:ext cx="12192000" cy="57673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075199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86B23F-BB96-4DBD-ADE7-6FE6F5496E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A9D4B1-DD11-48FC-A767-4AC8443FCEF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276E8D-B4A9-4FD9-B98B-0BD91DD22F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7/11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27A90C-45C0-4217-8FE9-9D7BA7C6DF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3FA520-63A7-464E-99D8-F9B13C2062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312268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472009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D406DE-9F04-4761-B745-AA42CB1282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683CD2-935F-4CAE-8B60-D78AF1C747D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8E2E6B-AE78-4E8D-9B93-CAB3927EAD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94876E-34AA-496C-9326-EF24EACD805B}" type="datetimeFigureOut">
              <a:rPr lang="en-CH" smtClean="0"/>
              <a:t>7/11/24</a:t>
            </a:fld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C8524E-FC47-42F0-8B32-61A43C86F0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93F4B6-41D2-4C3A-A932-7604B680E1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DDF230-00B0-4B91-AF56-68EC33BBFE1E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70266121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bIns="1224000" anchor="ctr">
            <a:normAutofit/>
          </a:bodyPr>
          <a:lstStyle>
            <a:lvl1pPr marL="0" marR="0" indent="0" algn="ctr" defTabSz="1219170" rtl="0" eaLnBrk="1" fontAlgn="auto" latinLnBrk="0" hangingPunct="1">
              <a:lnSpc>
                <a:spcPct val="110000"/>
              </a:lnSpc>
              <a:spcBef>
                <a:spcPts val="1333"/>
              </a:spcBef>
              <a:spcAft>
                <a:spcPts val="800"/>
              </a:spcAft>
              <a:buClr>
                <a:schemeClr val="tx1"/>
              </a:buClr>
              <a:buSzPct val="80000"/>
              <a:buFontTx/>
              <a:buNone/>
              <a:tabLst/>
              <a:defRPr sz="1867" baseline="0">
                <a:solidFill>
                  <a:schemeClr val="accent6"/>
                </a:solidFill>
              </a:defRPr>
            </a:lvl1pPr>
          </a:lstStyle>
          <a:p>
            <a:r>
              <a:rPr lang="en-GB" noProof="0" dirty="0"/>
              <a:t>Click on Icon to add picture, then arrange object (send to back)</a:t>
            </a:r>
            <a:br>
              <a:rPr lang="en-GB" noProof="0" dirty="0"/>
            </a:br>
            <a:r>
              <a:rPr lang="en-GB" noProof="0" dirty="0"/>
              <a:t>Change picture either by right mouse click on picture + „change picture“ </a:t>
            </a:r>
            <a:br>
              <a:rPr lang="en-GB" noProof="0" dirty="0"/>
            </a:br>
            <a:r>
              <a:rPr lang="en-GB" noProof="0" dirty="0"/>
              <a:t>or by deleting picture + resetting slide</a:t>
            </a:r>
          </a:p>
          <a:p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485189"/>
            <a:ext cx="7344000" cy="1119159"/>
          </a:xfrm>
          <a:noFill/>
        </p:spPr>
        <p:txBody>
          <a:bodyPr lIns="360000" tIns="72000" rIns="450000" bIns="180000" anchor="t" anchorCtr="0">
            <a:noAutofit/>
          </a:bodyPr>
          <a:lstStyle>
            <a:lvl1pPr algn="l">
              <a:lnSpc>
                <a:spcPct val="85000"/>
              </a:lnSpc>
              <a:defRPr sz="5600">
                <a:solidFill>
                  <a:srgbClr val="0092CC"/>
                </a:solidFill>
                <a:latin typeface="+mj-lt"/>
              </a:defRPr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0" hasCustomPrompt="1"/>
          </p:nvPr>
        </p:nvSpPr>
        <p:spPr>
          <a:xfrm>
            <a:off x="480000" y="6507005"/>
            <a:ext cx="5971600" cy="247651"/>
          </a:xfrm>
        </p:spPr>
        <p:txBody>
          <a:bodyPr lIns="0" anchor="ctr">
            <a:noAutofit/>
          </a:bodyPr>
          <a:lstStyle>
            <a:lvl1pPr>
              <a:defRPr sz="1333" b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 dirty="0"/>
              <a:t>Name of Author  |  Function | Division | Country </a:t>
            </a:r>
          </a:p>
        </p:txBody>
      </p:sp>
      <p:sp>
        <p:nvSpPr>
          <p:cNvPr id="90" name="Text Placehold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9495913" y="6476049"/>
            <a:ext cx="2195259" cy="247651"/>
          </a:xfrm>
        </p:spPr>
        <p:txBody>
          <a:bodyPr rIns="0" anchor="ctr">
            <a:noAutofit/>
          </a:bodyPr>
          <a:lstStyle>
            <a:lvl1pPr algn="ctr">
              <a:defRPr sz="2133" b="1" spc="0" baseline="0">
                <a:solidFill>
                  <a:schemeClr val="tx2"/>
                </a:solidFill>
                <a:latin typeface="+mj-lt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 dirty="0"/>
              <a:t>www.who.in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" y="4482001"/>
            <a:ext cx="12191999" cy="1656000"/>
          </a:xfrm>
          <a:solidFill>
            <a:schemeClr val="tx2"/>
          </a:solidFill>
        </p:spPr>
        <p:txBody>
          <a:bodyPr lIns="360000" tIns="360000" rIns="360000" bIns="828000" anchor="b">
            <a:noAutofit/>
          </a:bodyPr>
          <a:lstStyle>
            <a:lvl1pPr marL="0" indent="0" algn="l">
              <a:lnSpc>
                <a:spcPct val="90000"/>
              </a:lnSpc>
              <a:buNone/>
              <a:defRPr sz="3200" b="1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GB" noProof="0" dirty="0"/>
              <a:t>Click to edit Master subtitle style</a:t>
            </a:r>
          </a:p>
        </p:txBody>
      </p:sp>
      <p:sp>
        <p:nvSpPr>
          <p:cNvPr id="62" name="Text Placeholder 35"/>
          <p:cNvSpPr>
            <a:spLocks noGrp="1"/>
          </p:cNvSpPr>
          <p:nvPr>
            <p:ph type="body" sz="quarter" idx="15" hasCustomPrompt="1"/>
          </p:nvPr>
        </p:nvSpPr>
        <p:spPr>
          <a:xfrm>
            <a:off x="479999" y="5440855"/>
            <a:ext cx="11211172" cy="288000"/>
          </a:xfrm>
          <a:noFill/>
        </p:spPr>
        <p:txBody>
          <a:bodyPr lIns="0" rIns="90000">
            <a:noAutofit/>
          </a:bodyPr>
          <a:lstStyle>
            <a:lvl1pPr algn="l">
              <a:defRPr sz="2133" b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 dirty="0"/>
              <a:t>Date</a:t>
            </a:r>
          </a:p>
        </p:txBody>
      </p:sp>
      <p:sp>
        <p:nvSpPr>
          <p:cNvPr id="37" name="Picture Placeholder 8"/>
          <p:cNvSpPr>
            <a:spLocks noGrp="1"/>
          </p:cNvSpPr>
          <p:nvPr>
            <p:ph type="pic" sz="quarter" idx="22" hasCustomPrompt="1"/>
          </p:nvPr>
        </p:nvSpPr>
        <p:spPr>
          <a:xfrm>
            <a:off x="7460690" y="485184"/>
            <a:ext cx="4230495" cy="11124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algn="ctr">
              <a:defRPr sz="133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28117998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002" y="1800000"/>
            <a:ext cx="11232001" cy="4237200"/>
          </a:xfrm>
        </p:spPr>
        <p:txBody>
          <a:bodyPr/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0485" y="1188004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2133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One line Subtitle (optional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5F5F25C-B8D8-45F9-9C80-5699EEACB709}" type="datetime1">
              <a:rPr lang="en-GB" smtClean="0">
                <a:solidFill>
                  <a:prstClr val="black"/>
                </a:solidFill>
              </a:rPr>
              <a:pPr/>
              <a:t>11/07/2024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>
                <a:solidFill>
                  <a:prstClr val="black"/>
                </a:solidFill>
              </a:rPr>
              <a:t>| Title of the pre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74CE0EA-F3B5-4684-BA10-C594598FDB9C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480000" y="6293653"/>
            <a:ext cx="11226365" cy="208579"/>
          </a:xfrm>
        </p:spPr>
        <p:txBody>
          <a:bodyPr anchor="t">
            <a:normAutofit/>
          </a:bodyPr>
          <a:lstStyle>
            <a:lvl1pPr>
              <a:defRPr sz="1067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391667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9999" y="1800000"/>
            <a:ext cx="5472000" cy="4237200"/>
          </a:xfrm>
        </p:spPr>
        <p:txBody>
          <a:bodyPr/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34364" y="1800000"/>
            <a:ext cx="5472000" cy="4237200"/>
          </a:xfrm>
        </p:spPr>
        <p:txBody>
          <a:bodyPr/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F5FFF000-091D-47C5-9387-17D52AD2CE62}" type="datetime1">
              <a:rPr lang="en-GB" smtClean="0">
                <a:solidFill>
                  <a:prstClr val="black"/>
                </a:solidFill>
              </a:rPr>
              <a:pPr/>
              <a:t>11/07/2024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GB" dirty="0">
                <a:solidFill>
                  <a:prstClr val="black"/>
                </a:solidFill>
              </a:rPr>
              <a:t>|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A74CE0EA-F3B5-4684-BA10-C594598FDB9C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480000" y="6293653"/>
            <a:ext cx="11226365" cy="208579"/>
          </a:xfrm>
        </p:spPr>
        <p:txBody>
          <a:bodyPr anchor="t">
            <a:normAutofit/>
          </a:bodyPr>
          <a:lstStyle>
            <a:lvl1pPr>
              <a:defRPr sz="1067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0485" y="1188004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2133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185975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boxe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6C78BF3F-558A-4B3C-B451-D04BA3C54A4A}" type="datetime1">
              <a:rPr lang="en-GB" smtClean="0">
                <a:solidFill>
                  <a:prstClr val="black"/>
                </a:solidFill>
              </a:rPr>
              <a:pPr/>
              <a:t>11/07/2024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GB" dirty="0">
                <a:solidFill>
                  <a:prstClr val="black"/>
                </a:solidFill>
              </a:rPr>
              <a:t>|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A74CE0EA-F3B5-4684-BA10-C594598FDB9C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480000" y="6293653"/>
            <a:ext cx="11226365" cy="208579"/>
          </a:xfrm>
        </p:spPr>
        <p:txBody>
          <a:bodyPr anchor="t">
            <a:normAutofit/>
          </a:bodyPr>
          <a:lstStyle>
            <a:lvl1pPr>
              <a:defRPr sz="1067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25"/>
          </p:nvPr>
        </p:nvSpPr>
        <p:spPr>
          <a:xfrm>
            <a:off x="479999" y="2160000"/>
            <a:ext cx="5472000" cy="3877200"/>
          </a:xfrm>
        </p:spPr>
        <p:txBody>
          <a:bodyPr/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26"/>
          </p:nvPr>
        </p:nvSpPr>
        <p:spPr>
          <a:xfrm>
            <a:off x="6234364" y="2160000"/>
            <a:ext cx="5472000" cy="3877200"/>
          </a:xfrm>
        </p:spPr>
        <p:txBody>
          <a:bodyPr/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0485" y="1188004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2133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27"/>
          </p:nvPr>
        </p:nvSpPr>
        <p:spPr>
          <a:xfrm>
            <a:off x="479999" y="1800003"/>
            <a:ext cx="5472001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867" b="1" kern="1200" dirty="0">
                <a:solidFill>
                  <a:schemeClr val="bg1"/>
                </a:solidFill>
                <a:latin typeface="+mj-lt"/>
                <a:ea typeface="+mn-ea"/>
                <a:cs typeface="Times New Roman" panose="02020603050405020304" pitchFamily="18" charset="0"/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8"/>
          </p:nvPr>
        </p:nvSpPr>
        <p:spPr>
          <a:xfrm>
            <a:off x="6234365" y="1800003"/>
            <a:ext cx="5472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867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243738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oxe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600EC954-D5DE-4DD1-907A-F19F26ED4621}" type="datetime1">
              <a:rPr lang="en-GB" smtClean="0">
                <a:solidFill>
                  <a:prstClr val="black"/>
                </a:solidFill>
              </a:rPr>
              <a:pPr/>
              <a:t>11/07/2024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GB" dirty="0">
                <a:solidFill>
                  <a:prstClr val="black"/>
                </a:solidFill>
              </a:rPr>
              <a:t>|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A74CE0EA-F3B5-4684-BA10-C594598FDB9C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480000" y="6293653"/>
            <a:ext cx="11226365" cy="208579"/>
          </a:xfrm>
        </p:spPr>
        <p:txBody>
          <a:bodyPr anchor="t">
            <a:normAutofit/>
          </a:bodyPr>
          <a:lstStyle>
            <a:lvl1pPr>
              <a:defRPr sz="1067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25"/>
          </p:nvPr>
        </p:nvSpPr>
        <p:spPr>
          <a:xfrm>
            <a:off x="479999" y="2160000"/>
            <a:ext cx="5472000" cy="1656000"/>
          </a:xfrm>
        </p:spPr>
        <p:txBody>
          <a:bodyPr>
            <a:noAutofit/>
          </a:bodyPr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26"/>
          </p:nvPr>
        </p:nvSpPr>
        <p:spPr>
          <a:xfrm>
            <a:off x="6234364" y="2160000"/>
            <a:ext cx="5472000" cy="1656000"/>
          </a:xfrm>
        </p:spPr>
        <p:txBody>
          <a:bodyPr>
            <a:noAutofit/>
          </a:bodyPr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7"/>
          </p:nvPr>
        </p:nvSpPr>
        <p:spPr>
          <a:xfrm>
            <a:off x="479999" y="1800003"/>
            <a:ext cx="5472001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867" b="1" kern="1200" dirty="0">
                <a:solidFill>
                  <a:schemeClr val="bg1"/>
                </a:solidFill>
                <a:latin typeface="+mj-lt"/>
                <a:ea typeface="+mn-ea"/>
                <a:cs typeface="Times New Roman" panose="02020603050405020304" pitchFamily="18" charset="0"/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8"/>
          </p:nvPr>
        </p:nvSpPr>
        <p:spPr>
          <a:xfrm>
            <a:off x="6234365" y="1800003"/>
            <a:ext cx="5472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867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0485" y="1188004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2133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sz="half" idx="30"/>
          </p:nvPr>
        </p:nvSpPr>
        <p:spPr>
          <a:xfrm>
            <a:off x="479999" y="4381200"/>
            <a:ext cx="5472000" cy="1656000"/>
          </a:xfrm>
        </p:spPr>
        <p:txBody>
          <a:bodyPr>
            <a:noAutofit/>
          </a:bodyPr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8" name="Content Placeholder 3"/>
          <p:cNvSpPr>
            <a:spLocks noGrp="1"/>
          </p:cNvSpPr>
          <p:nvPr>
            <p:ph sz="half" idx="34"/>
          </p:nvPr>
        </p:nvSpPr>
        <p:spPr>
          <a:xfrm>
            <a:off x="6234364" y="4381200"/>
            <a:ext cx="5472000" cy="1656000"/>
          </a:xfrm>
        </p:spPr>
        <p:txBody>
          <a:bodyPr>
            <a:noAutofit/>
          </a:bodyPr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35"/>
          </p:nvPr>
        </p:nvSpPr>
        <p:spPr>
          <a:xfrm>
            <a:off x="479999" y="4039527"/>
            <a:ext cx="5472001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867" b="1" kern="1200" dirty="0">
                <a:solidFill>
                  <a:schemeClr val="bg1"/>
                </a:solidFill>
                <a:latin typeface="+mj-lt"/>
                <a:ea typeface="+mn-ea"/>
                <a:cs typeface="Times New Roman" panose="02020603050405020304" pitchFamily="18" charset="0"/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6234365" y="4039527"/>
            <a:ext cx="5472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867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265086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B6F477A-E39C-46AF-BBA5-3E343653EB42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57200" y="1371600"/>
            <a:ext cx="11430000" cy="4389120"/>
          </a:xfrm>
        </p:spPr>
        <p:txBody>
          <a:bodyPr anchor="t" anchorCtr="1">
            <a:normAutofit/>
          </a:bodyPr>
          <a:lstStyle>
            <a:lvl1pPr marL="0" indent="0">
              <a:buNone/>
              <a:defRPr sz="2000" baseline="0"/>
            </a:lvl1pPr>
          </a:lstStyle>
          <a:p>
            <a:pPr lvl="0"/>
            <a:r>
              <a:rPr lang="fr-CH"/>
              <a:t>Click to </a:t>
            </a:r>
            <a:r>
              <a:rPr lang="fr-CH" err="1"/>
              <a:t>add</a:t>
            </a:r>
            <a:r>
              <a:rPr lang="fr-CH"/>
              <a:t> chart </a:t>
            </a:r>
            <a:r>
              <a:rPr lang="fr-CH" err="1"/>
              <a:t>title</a:t>
            </a:r>
            <a:endParaRPr lang="LID4096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F628AA1-34C1-48F7-AB8F-F525ED2C316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12192000" cy="914400"/>
          </a:xfrm>
          <a:solidFill>
            <a:schemeClr val="tx2"/>
          </a:solidFill>
        </p:spPr>
        <p:txBody>
          <a:bodyPr lIns="182880" tIns="91440" rIns="182880" anchor="ctr" anchorCtr="1">
            <a:normAutofit/>
          </a:bodyPr>
          <a:lstStyle>
            <a:lvl1pPr marL="0" indent="0">
              <a:buNone/>
              <a:defRPr sz="3600" b="1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CH"/>
              <a:t>Click to </a:t>
            </a:r>
            <a:r>
              <a:rPr lang="fr-CH" err="1"/>
              <a:t>add</a:t>
            </a:r>
            <a:r>
              <a:rPr lang="fr-CH"/>
              <a:t> slide message</a:t>
            </a:r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272824205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539959C5-8A63-4BDF-9345-C80A98690B8E}" type="datetime1">
              <a:rPr lang="en-GB" smtClean="0">
                <a:solidFill>
                  <a:prstClr val="black"/>
                </a:solidFill>
              </a:rPr>
              <a:pPr/>
              <a:t>11/07/2024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GB" dirty="0">
                <a:solidFill>
                  <a:prstClr val="black"/>
                </a:solidFill>
              </a:rPr>
              <a:t>|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A74CE0EA-F3B5-4684-BA10-C594598FDB9C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480000" y="6293653"/>
            <a:ext cx="11226365" cy="208579"/>
          </a:xfrm>
        </p:spPr>
        <p:txBody>
          <a:bodyPr anchor="t">
            <a:normAutofit/>
          </a:bodyPr>
          <a:lstStyle>
            <a:lvl1pPr>
              <a:defRPr sz="1067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25"/>
          </p:nvPr>
        </p:nvSpPr>
        <p:spPr>
          <a:xfrm>
            <a:off x="479999" y="2160000"/>
            <a:ext cx="3552000" cy="3877200"/>
          </a:xfrm>
        </p:spPr>
        <p:txBody>
          <a:bodyPr/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7"/>
          </p:nvPr>
        </p:nvSpPr>
        <p:spPr>
          <a:xfrm>
            <a:off x="479999" y="1800003"/>
            <a:ext cx="3552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867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29"/>
          </p:nvPr>
        </p:nvSpPr>
        <p:spPr>
          <a:xfrm>
            <a:off x="4317181" y="2160000"/>
            <a:ext cx="3552000" cy="3877200"/>
          </a:xfrm>
        </p:spPr>
        <p:txBody>
          <a:bodyPr/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30"/>
          </p:nvPr>
        </p:nvSpPr>
        <p:spPr>
          <a:xfrm>
            <a:off x="4317181" y="1800003"/>
            <a:ext cx="3552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867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sz="half" idx="31"/>
          </p:nvPr>
        </p:nvSpPr>
        <p:spPr>
          <a:xfrm>
            <a:off x="8154364" y="2160000"/>
            <a:ext cx="3552000" cy="3877200"/>
          </a:xfrm>
        </p:spPr>
        <p:txBody>
          <a:bodyPr/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32"/>
          </p:nvPr>
        </p:nvSpPr>
        <p:spPr>
          <a:xfrm>
            <a:off x="8154364" y="1800003"/>
            <a:ext cx="3552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867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0485" y="1188004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2133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29673421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/ Text righ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34364" y="1800000"/>
            <a:ext cx="5472000" cy="4237200"/>
          </a:xfrm>
        </p:spPr>
        <p:txBody>
          <a:bodyPr/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479999" y="1800000"/>
            <a:ext cx="5472000" cy="4237200"/>
          </a:xfrm>
          <a:solidFill>
            <a:schemeClr val="bg1">
              <a:lumMod val="85000"/>
            </a:schemeClr>
          </a:solidFill>
        </p:spPr>
        <p:txBody>
          <a:bodyPr bIns="1980000" anchor="ctr"/>
          <a:lstStyle>
            <a:lvl1pPr marL="0" marR="0" indent="0" algn="ctr" defTabSz="1219170" rtl="0" eaLnBrk="1" fontAlgn="auto" latinLnBrk="0" hangingPunct="1">
              <a:lnSpc>
                <a:spcPct val="110000"/>
              </a:lnSpc>
              <a:spcBef>
                <a:spcPts val="1333"/>
              </a:spcBef>
              <a:spcAft>
                <a:spcPts val="800"/>
              </a:spcAft>
              <a:buClr>
                <a:schemeClr val="tx1"/>
              </a:buClr>
              <a:buSzPct val="80000"/>
              <a:buFontTx/>
              <a:buNone/>
              <a:tabLst/>
              <a:defRPr sz="1867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1219170" rtl="0" eaLnBrk="1" fontAlgn="auto" latinLnBrk="0" hangingPunct="1">
              <a:lnSpc>
                <a:spcPct val="110000"/>
              </a:lnSpc>
              <a:spcBef>
                <a:spcPts val="1333"/>
              </a:spcBef>
              <a:spcAft>
                <a:spcPts val="8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 dirty="0"/>
              <a:t>Click on Icon to add picture</a:t>
            </a:r>
            <a:br>
              <a:rPr lang="en-GB" noProof="0" dirty="0"/>
            </a:br>
            <a:r>
              <a:rPr lang="en-GB" noProof="0" dirty="0"/>
              <a:t>Change picture either by</a:t>
            </a:r>
            <a:br>
              <a:rPr lang="en-GB" noProof="0" dirty="0"/>
            </a:br>
            <a:r>
              <a:rPr lang="en-GB" noProof="0" dirty="0"/>
              <a:t>right mouse click on picture + „change picture“ </a:t>
            </a:r>
            <a:br>
              <a:rPr lang="en-GB" noProof="0" dirty="0"/>
            </a:br>
            <a:r>
              <a:rPr lang="en-GB" noProof="0" dirty="0"/>
              <a:t>or by deleting picture + resetting slid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EB9FF11-A344-43C4-823B-F8CC00676CD1}" type="datetime1">
              <a:rPr lang="en-GB" smtClean="0">
                <a:solidFill>
                  <a:prstClr val="black"/>
                </a:solidFill>
              </a:rPr>
              <a:pPr/>
              <a:t>11/07/2024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 dirty="0">
                <a:solidFill>
                  <a:prstClr val="black"/>
                </a:solidFill>
              </a:rPr>
              <a:t>|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74CE0EA-F3B5-4684-BA10-C594598FDB9C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480000" y="6293653"/>
            <a:ext cx="11226365" cy="208579"/>
          </a:xfrm>
        </p:spPr>
        <p:txBody>
          <a:bodyPr anchor="t">
            <a:normAutofit/>
          </a:bodyPr>
          <a:lstStyle>
            <a:lvl1pPr>
              <a:defRPr sz="1067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0485" y="1188004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2133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378157672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34364" y="1800000"/>
            <a:ext cx="5472000" cy="4237200"/>
          </a:xfrm>
          <a:solidFill>
            <a:srgbClr val="009CDE"/>
          </a:solidFill>
        </p:spPr>
        <p:txBody>
          <a:bodyPr lIns="144000" tIns="144000" rIns="144000" bIns="144000"/>
          <a:lstStyle>
            <a:lvl1pPr>
              <a:defRPr sz="1867"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867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867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867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867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479999" y="1800000"/>
            <a:ext cx="5472000" cy="4237200"/>
          </a:xfrm>
          <a:solidFill>
            <a:schemeClr val="bg1">
              <a:lumMod val="85000"/>
            </a:schemeClr>
          </a:solidFill>
        </p:spPr>
        <p:txBody>
          <a:bodyPr bIns="1980000" anchor="ctr"/>
          <a:lstStyle>
            <a:lvl1pPr marL="0" marR="0" indent="0" algn="ctr" defTabSz="1219170" rtl="0" eaLnBrk="1" fontAlgn="auto" latinLnBrk="0" hangingPunct="1">
              <a:lnSpc>
                <a:spcPct val="110000"/>
              </a:lnSpc>
              <a:spcBef>
                <a:spcPts val="1333"/>
              </a:spcBef>
              <a:spcAft>
                <a:spcPts val="800"/>
              </a:spcAft>
              <a:buClr>
                <a:schemeClr val="tx1"/>
              </a:buClr>
              <a:buSzPct val="80000"/>
              <a:buFontTx/>
              <a:buNone/>
              <a:tabLst/>
              <a:defRPr sz="1867">
                <a:solidFill>
                  <a:schemeClr val="bg1"/>
                </a:solidFill>
              </a:defRPr>
            </a:lvl1pPr>
          </a:lstStyle>
          <a:p>
            <a:pPr marL="0" marR="0" lvl="0" indent="0" algn="ctr" defTabSz="1219170" rtl="0" eaLnBrk="1" fontAlgn="auto" latinLnBrk="0" hangingPunct="1">
              <a:lnSpc>
                <a:spcPct val="110000"/>
              </a:lnSpc>
              <a:spcBef>
                <a:spcPts val="1333"/>
              </a:spcBef>
              <a:spcAft>
                <a:spcPts val="8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 dirty="0"/>
              <a:t>Click on Icon to add picture</a:t>
            </a:r>
          </a:p>
          <a:p>
            <a:pPr marL="0" marR="0" lvl="0" indent="0" algn="ctr" defTabSz="1219170" rtl="0" eaLnBrk="1" fontAlgn="auto" latinLnBrk="0" hangingPunct="1">
              <a:lnSpc>
                <a:spcPct val="110000"/>
              </a:lnSpc>
              <a:spcBef>
                <a:spcPts val="1333"/>
              </a:spcBef>
              <a:spcAft>
                <a:spcPts val="8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 dirty="0"/>
              <a:t>Change picture either by</a:t>
            </a:r>
            <a:br>
              <a:rPr lang="en-GB" noProof="0" dirty="0"/>
            </a:br>
            <a:r>
              <a:rPr lang="en-GB" noProof="0" dirty="0"/>
              <a:t>right mouse click on picture + „change picture“ </a:t>
            </a:r>
            <a:br>
              <a:rPr lang="en-GB" noProof="0" dirty="0"/>
            </a:br>
            <a:r>
              <a:rPr lang="en-GB" noProof="0" dirty="0"/>
              <a:t>or by deleting picture + resetting slid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29A7516-E6F8-4BF1-9169-1AE6A8B4C4E1}" type="datetime1">
              <a:rPr lang="en-GB" smtClean="0">
                <a:solidFill>
                  <a:prstClr val="black"/>
                </a:solidFill>
              </a:rPr>
              <a:pPr/>
              <a:t>11/07/2024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 dirty="0">
                <a:solidFill>
                  <a:prstClr val="black"/>
                </a:solidFill>
              </a:rPr>
              <a:t>|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74CE0EA-F3B5-4684-BA10-C594598FDB9C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480000" y="6293653"/>
            <a:ext cx="11226365" cy="208579"/>
          </a:xfrm>
        </p:spPr>
        <p:txBody>
          <a:bodyPr anchor="t">
            <a:normAutofit/>
          </a:bodyPr>
          <a:lstStyle>
            <a:lvl1pPr>
              <a:defRPr sz="1067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0485" y="1188004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2133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135235888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480003" y="1800000"/>
            <a:ext cx="11226364" cy="4237200"/>
          </a:xfrm>
          <a:solidFill>
            <a:schemeClr val="bg1">
              <a:lumMod val="85000"/>
            </a:schemeClr>
          </a:solidFill>
        </p:spPr>
        <p:txBody>
          <a:bodyPr bIns="1980000" anchor="ctr"/>
          <a:lstStyle>
            <a:lvl1pPr marL="0" marR="0" indent="0" algn="ctr" defTabSz="1219170" rtl="0" eaLnBrk="1" fontAlgn="auto" latinLnBrk="0" hangingPunct="1">
              <a:lnSpc>
                <a:spcPct val="110000"/>
              </a:lnSpc>
              <a:spcBef>
                <a:spcPts val="1333"/>
              </a:spcBef>
              <a:spcAft>
                <a:spcPts val="800"/>
              </a:spcAft>
              <a:buClr>
                <a:schemeClr val="tx1"/>
              </a:buClr>
              <a:buSzPct val="80000"/>
              <a:buFontTx/>
              <a:buNone/>
              <a:tabLst/>
              <a:defRPr sz="1867">
                <a:solidFill>
                  <a:schemeClr val="bg1"/>
                </a:solidFill>
              </a:defRPr>
            </a:lvl1pPr>
          </a:lstStyle>
          <a:p>
            <a:pPr marL="0" marR="0" lvl="0" indent="0" algn="ctr" defTabSz="1219170" rtl="0" eaLnBrk="1" fontAlgn="auto" latinLnBrk="0" hangingPunct="1">
              <a:lnSpc>
                <a:spcPct val="110000"/>
              </a:lnSpc>
              <a:spcBef>
                <a:spcPts val="1333"/>
              </a:spcBef>
              <a:spcAft>
                <a:spcPts val="8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 dirty="0"/>
              <a:t>Click on Icon to add picture</a:t>
            </a:r>
            <a:br>
              <a:rPr lang="en-GB" noProof="0" dirty="0"/>
            </a:br>
            <a:r>
              <a:rPr lang="en-GB" noProof="0" dirty="0"/>
              <a:t>Change picture either by</a:t>
            </a:r>
            <a:br>
              <a:rPr lang="en-GB" noProof="0" dirty="0"/>
            </a:br>
            <a:r>
              <a:rPr lang="en-GB" noProof="0" dirty="0"/>
              <a:t>right mouse click on picture + „change picture“ </a:t>
            </a:r>
            <a:br>
              <a:rPr lang="en-GB" noProof="0" dirty="0"/>
            </a:br>
            <a:r>
              <a:rPr lang="en-GB" noProof="0" dirty="0"/>
              <a:t>or by deleting picture + resetting slid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31EE352-73CD-4388-84F2-249FAFD249D6}" type="datetime1">
              <a:rPr lang="en-GB" smtClean="0">
                <a:solidFill>
                  <a:prstClr val="black"/>
                </a:solidFill>
              </a:rPr>
              <a:pPr/>
              <a:t>11/07/2024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 dirty="0">
                <a:solidFill>
                  <a:prstClr val="black"/>
                </a:solidFill>
              </a:rPr>
              <a:t>| Title of the pre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74CE0EA-F3B5-4684-BA10-C594598FDB9C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480000" y="6293653"/>
            <a:ext cx="11226365" cy="208579"/>
          </a:xfrm>
        </p:spPr>
        <p:txBody>
          <a:bodyPr anchor="t">
            <a:normAutofit/>
          </a:bodyPr>
          <a:lstStyle>
            <a:lvl1pPr>
              <a:defRPr sz="1067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0485" y="1188004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2133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111132129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Intro large Tex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Date Placeholder 17"/>
          <p:cNvSpPr>
            <a:spLocks noGrp="1"/>
          </p:cNvSpPr>
          <p:nvPr>
            <p:ph type="dt" sz="half" idx="14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A826542-68AB-4EF5-B2B7-7C8D70871A17}" type="datetime1">
              <a:rPr lang="en-GB" smtClean="0">
                <a:solidFill>
                  <a:prstClr val="black"/>
                </a:solidFill>
              </a:rPr>
              <a:pPr/>
              <a:t>11/07/2024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19" name="Footer Placeholder 18"/>
          <p:cNvSpPr>
            <a:spLocks noGrp="1"/>
          </p:cNvSpPr>
          <p:nvPr>
            <p:ph type="ftr" sz="quarter" idx="15"/>
          </p:nvPr>
        </p:nvSpPr>
        <p:spPr>
          <a:noFill/>
        </p:spPr>
        <p:txBody>
          <a:bodyPr/>
          <a:lstStyle/>
          <a:p>
            <a:r>
              <a:rPr lang="en-GB" dirty="0">
                <a:solidFill>
                  <a:prstClr val="black"/>
                </a:solidFill>
              </a:rPr>
              <a:t>| Title of the presentation</a:t>
            </a:r>
          </a:p>
        </p:txBody>
      </p:sp>
      <p:sp>
        <p:nvSpPr>
          <p:cNvPr id="20" name="Slide Number Placeholder 19"/>
          <p:cNvSpPr>
            <a:spLocks noGrp="1"/>
          </p:cNvSpPr>
          <p:nvPr>
            <p:ph type="sldNum" sz="quarter" idx="16"/>
          </p:nvPr>
        </p:nvSpPr>
        <p:spPr>
          <a:noFill/>
        </p:spPr>
        <p:txBody>
          <a:bodyPr/>
          <a:lstStyle/>
          <a:p>
            <a:fld id="{A74CE0EA-F3B5-4684-BA10-C594598FDB9C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480000" y="6293653"/>
            <a:ext cx="11226365" cy="208579"/>
          </a:xfrm>
          <a:noFill/>
        </p:spPr>
        <p:txBody>
          <a:bodyPr anchor="t">
            <a:normAutofit/>
          </a:bodyPr>
          <a:lstStyle>
            <a:lvl1pPr>
              <a:defRPr sz="1067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0485" y="1188004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2133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One line Subtitle (optional)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479999" y="1800000"/>
            <a:ext cx="11226365" cy="4237200"/>
          </a:xfrm>
          <a:noFill/>
        </p:spPr>
        <p:txBody>
          <a:bodyPr lIns="0" tIns="0" rIns="0" bIns="0"/>
          <a:lstStyle>
            <a:lvl1pPr>
              <a:lnSpc>
                <a:spcPct val="110000"/>
              </a:lnSpc>
              <a:defRPr sz="1867" b="1"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110000"/>
              </a:lnSpc>
              <a:defRPr sz="1867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5128259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Intro Imag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0" y="4"/>
            <a:ext cx="12192000" cy="6857999"/>
          </a:xfrm>
          <a:solidFill>
            <a:schemeClr val="bg1"/>
          </a:solidFill>
        </p:spPr>
        <p:txBody>
          <a:bodyPr wrap="square" tIns="1980000" bIns="0" anchor="ctr"/>
          <a:lstStyle>
            <a:lvl1pPr marL="0" marR="0" indent="0" algn="ctr" defTabSz="1219170" rtl="0" eaLnBrk="1" fontAlgn="auto" latinLnBrk="0" hangingPunct="1">
              <a:lnSpc>
                <a:spcPct val="110000"/>
              </a:lnSpc>
              <a:spcBef>
                <a:spcPts val="1333"/>
              </a:spcBef>
              <a:spcAft>
                <a:spcPts val="800"/>
              </a:spcAft>
              <a:buClr>
                <a:schemeClr val="tx1"/>
              </a:buClr>
              <a:buSzPct val="80000"/>
              <a:buFontTx/>
              <a:buNone/>
              <a:tabLst/>
              <a:defRPr sz="1867">
                <a:solidFill>
                  <a:schemeClr val="accent6"/>
                </a:solidFill>
              </a:defRPr>
            </a:lvl1pPr>
          </a:lstStyle>
          <a:p>
            <a:pPr marL="0" marR="0" lvl="0" indent="0" algn="ctr" defTabSz="1219170" rtl="0" eaLnBrk="1" fontAlgn="auto" latinLnBrk="0" hangingPunct="1">
              <a:lnSpc>
                <a:spcPct val="110000"/>
              </a:lnSpc>
              <a:spcBef>
                <a:spcPts val="1333"/>
              </a:spcBef>
              <a:spcAft>
                <a:spcPts val="8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 dirty="0"/>
              <a:t>Click on Icon to add picture, then arrange object (send to back)</a:t>
            </a:r>
          </a:p>
          <a:p>
            <a:pPr marL="0" marR="0" lvl="0" indent="0" algn="ctr" defTabSz="1219170" rtl="0" eaLnBrk="1" fontAlgn="auto" latinLnBrk="0" hangingPunct="1">
              <a:lnSpc>
                <a:spcPct val="110000"/>
              </a:lnSpc>
              <a:spcBef>
                <a:spcPts val="1333"/>
              </a:spcBef>
              <a:spcAft>
                <a:spcPts val="8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 dirty="0"/>
              <a:t>Change picture either by</a:t>
            </a:r>
            <a:br>
              <a:rPr lang="en-GB" noProof="0" dirty="0"/>
            </a:br>
            <a:r>
              <a:rPr lang="en-GB" noProof="0" dirty="0"/>
              <a:t>right mouse click on picture + „change picture“ </a:t>
            </a:r>
            <a:br>
              <a:rPr lang="en-GB" noProof="0" dirty="0"/>
            </a:br>
            <a:r>
              <a:rPr lang="en-GB" noProof="0" dirty="0"/>
              <a:t>or by deleting picture + resetting slid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8"/>
          </p:nvPr>
        </p:nvSpPr>
        <p:spPr bwMode="gray">
          <a:xfrm>
            <a:off x="3" y="1800006"/>
            <a:ext cx="4279900" cy="1649447"/>
          </a:xfrm>
          <a:solidFill>
            <a:schemeClr val="tx2">
              <a:alpha val="90000"/>
            </a:schemeClr>
          </a:solidFill>
        </p:spPr>
        <p:txBody>
          <a:bodyPr lIns="360000" tIns="180000" rIns="360000" bIns="180000">
            <a:noAutofit/>
          </a:bodyPr>
          <a:lstStyle>
            <a:lvl1pPr>
              <a:defRPr sz="3733" b="1">
                <a:solidFill>
                  <a:schemeClr val="bg1"/>
                </a:solidFill>
                <a:latin typeface="+mj-lt"/>
              </a:defRPr>
            </a:lvl1pPr>
            <a:lvl2pPr marL="721766" indent="-366175">
              <a:buClr>
                <a:schemeClr val="bg1"/>
              </a:buClr>
              <a:defRPr sz="3733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8AB999A-019E-47DF-9626-59D35A5C5D1F}" type="datetime1">
              <a:rPr lang="en-GB" smtClean="0">
                <a:solidFill>
                  <a:prstClr val="black"/>
                </a:solidFill>
              </a:rPr>
              <a:pPr/>
              <a:t>11/07/2024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>
                <a:solidFill>
                  <a:prstClr val="black"/>
                </a:solidFill>
              </a:rPr>
              <a:t>| Title of the pre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74CE0EA-F3B5-4684-BA10-C594598FDB9C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80000" y="6293653"/>
            <a:ext cx="11226365" cy="208579"/>
          </a:xfrm>
        </p:spPr>
        <p:txBody>
          <a:bodyPr anchor="t">
            <a:normAutofit/>
          </a:bodyPr>
          <a:lstStyle>
            <a:lvl1pPr>
              <a:defRPr sz="1067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9071164" y="371959"/>
            <a:ext cx="2635200" cy="6948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/>
          <a:lstStyle>
            <a:lvl1pPr algn="ctr">
              <a:defRPr sz="133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48218621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hite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30"/>
          </p:nvPr>
        </p:nvSpPr>
        <p:spPr bwMode="gray"/>
        <p:txBody>
          <a:bodyPr/>
          <a:lstStyle/>
          <a:p>
            <a:fld id="{99262F6C-3198-4C0D-9FD3-A522B66D4040}" type="datetime1">
              <a:rPr lang="en-GB" smtClean="0">
                <a:solidFill>
                  <a:prstClr val="black"/>
                </a:solidFill>
              </a:rPr>
              <a:pPr/>
              <a:t>11/07/2024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1"/>
          </p:nvPr>
        </p:nvSpPr>
        <p:spPr bwMode="gray"/>
        <p:txBody>
          <a:bodyPr/>
          <a:lstStyle/>
          <a:p>
            <a:r>
              <a:rPr lang="en-GB" dirty="0">
                <a:solidFill>
                  <a:prstClr val="black"/>
                </a:solidFill>
              </a:rPr>
              <a:t>| Title of the presenta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2"/>
          </p:nvPr>
        </p:nvSpPr>
        <p:spPr bwMode="gray"/>
        <p:txBody>
          <a:bodyPr/>
          <a:lstStyle/>
          <a:p>
            <a:fld id="{A74CE0EA-F3B5-4684-BA10-C594598FDB9C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 bwMode="gray">
          <a:xfrm>
            <a:off x="480002" y="1800004"/>
            <a:ext cx="6367841" cy="1424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>
              <a:solidFill>
                <a:prstClr val="white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3" hasCustomPrompt="1"/>
          </p:nvPr>
        </p:nvSpPr>
        <p:spPr>
          <a:xfrm>
            <a:off x="479999" y="2143683"/>
            <a:ext cx="988484" cy="396000"/>
          </a:xfrm>
        </p:spPr>
        <p:txBody>
          <a:bodyPr/>
          <a:lstStyle>
            <a:lvl1pPr>
              <a:defRPr sz="3733" b="1">
                <a:solidFill>
                  <a:srgbClr val="0092CC"/>
                </a:solidFill>
                <a:latin typeface="+mj-lt"/>
              </a:defRPr>
            </a:lvl1pPr>
            <a:lvl2pPr>
              <a:defRPr sz="3733" b="1">
                <a:latin typeface="+mj-lt"/>
              </a:defRPr>
            </a:lvl2pPr>
            <a:lvl3pPr>
              <a:defRPr sz="3733" b="1">
                <a:latin typeface="+mj-lt"/>
              </a:defRPr>
            </a:lvl3pPr>
            <a:lvl4pPr>
              <a:defRPr sz="3733" b="1">
                <a:latin typeface="+mj-lt"/>
              </a:defRPr>
            </a:lvl4pPr>
            <a:lvl5pPr>
              <a:defRPr sz="3733" b="1">
                <a:latin typeface="+mj-lt"/>
              </a:defRPr>
            </a:lvl5pPr>
          </a:lstStyle>
          <a:p>
            <a:pPr lvl="0"/>
            <a:r>
              <a:rPr lang="en-GB" noProof="0" dirty="0"/>
              <a:t>01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1707437" y="2143683"/>
            <a:ext cx="5140403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33" b="0">
                <a:solidFill>
                  <a:schemeClr val="tx1"/>
                </a:solidFill>
                <a:latin typeface="+mn-lt"/>
              </a:defRPr>
            </a:lvl1pPr>
            <a:lvl2pPr>
              <a:defRPr sz="3733" b="1">
                <a:latin typeface="+mj-lt"/>
              </a:defRPr>
            </a:lvl2pPr>
            <a:lvl3pPr>
              <a:defRPr sz="3733" b="1">
                <a:latin typeface="+mj-lt"/>
              </a:defRPr>
            </a:lvl3pPr>
            <a:lvl4pPr>
              <a:defRPr sz="3733" b="1">
                <a:latin typeface="+mj-lt"/>
              </a:defRPr>
            </a:lvl4pPr>
            <a:lvl5pPr>
              <a:defRPr sz="3733" b="1">
                <a:latin typeface="+mj-lt"/>
              </a:defRPr>
            </a:lvl5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>
          <a:xfrm>
            <a:off x="7432736" y="2143683"/>
            <a:ext cx="4273629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33" b="0">
                <a:solidFill>
                  <a:schemeClr val="tx1"/>
                </a:solidFill>
                <a:latin typeface="+mn-lt"/>
              </a:defRPr>
            </a:lvl1pPr>
            <a:lvl2pPr>
              <a:defRPr sz="3733" b="1">
                <a:latin typeface="+mj-lt"/>
              </a:defRPr>
            </a:lvl2pPr>
            <a:lvl3pPr>
              <a:defRPr sz="3733" b="1">
                <a:latin typeface="+mj-lt"/>
              </a:defRPr>
            </a:lvl3pPr>
            <a:lvl4pPr>
              <a:defRPr sz="3733" b="1">
                <a:latin typeface="+mj-lt"/>
              </a:defRPr>
            </a:lvl4pPr>
            <a:lvl5pPr>
              <a:defRPr sz="3733" b="1">
                <a:latin typeface="+mj-lt"/>
              </a:defRPr>
            </a:lvl5pPr>
          </a:lstStyle>
          <a:p>
            <a:pPr lvl="0"/>
            <a:r>
              <a:rPr lang="en-GB" noProof="0" dirty="0"/>
              <a:t>Speaker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36" hasCustomPrompt="1"/>
          </p:nvPr>
        </p:nvSpPr>
        <p:spPr>
          <a:xfrm>
            <a:off x="479999" y="2877928"/>
            <a:ext cx="988484" cy="396000"/>
          </a:xfrm>
        </p:spPr>
        <p:txBody>
          <a:bodyPr/>
          <a:lstStyle>
            <a:lvl1pPr>
              <a:defRPr sz="3733" b="1">
                <a:solidFill>
                  <a:srgbClr val="0092CC"/>
                </a:solidFill>
                <a:latin typeface="+mj-lt"/>
              </a:defRPr>
            </a:lvl1pPr>
            <a:lvl2pPr>
              <a:defRPr sz="3733" b="1">
                <a:latin typeface="+mj-lt"/>
              </a:defRPr>
            </a:lvl2pPr>
            <a:lvl3pPr>
              <a:defRPr sz="3733" b="1">
                <a:latin typeface="+mj-lt"/>
              </a:defRPr>
            </a:lvl3pPr>
            <a:lvl4pPr>
              <a:defRPr sz="3733" b="1">
                <a:latin typeface="+mj-lt"/>
              </a:defRPr>
            </a:lvl4pPr>
            <a:lvl5pPr>
              <a:defRPr sz="3733" b="1">
                <a:latin typeface="+mj-lt"/>
              </a:defRPr>
            </a:lvl5pPr>
          </a:lstStyle>
          <a:p>
            <a:pPr lvl="0"/>
            <a:r>
              <a:rPr lang="en-GB" noProof="0"/>
              <a:t>02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7" hasCustomPrompt="1"/>
          </p:nvPr>
        </p:nvSpPr>
        <p:spPr>
          <a:xfrm>
            <a:off x="1707437" y="2877928"/>
            <a:ext cx="5140403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33" b="0">
                <a:solidFill>
                  <a:schemeClr val="tx1"/>
                </a:solidFill>
                <a:latin typeface="+mn-lt"/>
              </a:defRPr>
            </a:lvl1pPr>
            <a:lvl2pPr>
              <a:defRPr sz="3733" b="1">
                <a:latin typeface="+mj-lt"/>
              </a:defRPr>
            </a:lvl2pPr>
            <a:lvl3pPr>
              <a:defRPr sz="3733" b="1">
                <a:latin typeface="+mj-lt"/>
              </a:defRPr>
            </a:lvl3pPr>
            <a:lvl4pPr>
              <a:defRPr sz="3733" b="1">
                <a:latin typeface="+mj-lt"/>
              </a:defRPr>
            </a:lvl4pPr>
            <a:lvl5pPr>
              <a:defRPr sz="3733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39" name="Text Placeholder 3"/>
          <p:cNvSpPr>
            <a:spLocks noGrp="1"/>
          </p:cNvSpPr>
          <p:nvPr>
            <p:ph type="body" sz="quarter" idx="38" hasCustomPrompt="1"/>
          </p:nvPr>
        </p:nvSpPr>
        <p:spPr>
          <a:xfrm>
            <a:off x="7432736" y="2877928"/>
            <a:ext cx="4273629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33" b="0">
                <a:solidFill>
                  <a:schemeClr val="tx1"/>
                </a:solidFill>
                <a:latin typeface="+mn-lt"/>
              </a:defRPr>
            </a:lvl1pPr>
            <a:lvl2pPr>
              <a:defRPr sz="3733" b="1">
                <a:latin typeface="+mj-lt"/>
              </a:defRPr>
            </a:lvl2pPr>
            <a:lvl3pPr>
              <a:defRPr sz="3733" b="1">
                <a:latin typeface="+mj-lt"/>
              </a:defRPr>
            </a:lvl3pPr>
            <a:lvl4pPr>
              <a:defRPr sz="3733" b="1">
                <a:latin typeface="+mj-lt"/>
              </a:defRPr>
            </a:lvl4pPr>
            <a:lvl5pPr>
              <a:defRPr sz="3733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39" hasCustomPrompt="1"/>
          </p:nvPr>
        </p:nvSpPr>
        <p:spPr>
          <a:xfrm>
            <a:off x="479999" y="3612173"/>
            <a:ext cx="988484" cy="396000"/>
          </a:xfrm>
        </p:spPr>
        <p:txBody>
          <a:bodyPr/>
          <a:lstStyle>
            <a:lvl1pPr>
              <a:defRPr sz="3733" b="1">
                <a:solidFill>
                  <a:srgbClr val="0092CC"/>
                </a:solidFill>
                <a:latin typeface="+mj-lt"/>
              </a:defRPr>
            </a:lvl1pPr>
            <a:lvl2pPr>
              <a:defRPr sz="3733" b="1">
                <a:latin typeface="+mj-lt"/>
              </a:defRPr>
            </a:lvl2pPr>
            <a:lvl3pPr>
              <a:defRPr sz="3733" b="1">
                <a:latin typeface="+mj-lt"/>
              </a:defRPr>
            </a:lvl3pPr>
            <a:lvl4pPr>
              <a:defRPr sz="3733" b="1">
                <a:latin typeface="+mj-lt"/>
              </a:defRPr>
            </a:lvl4pPr>
            <a:lvl5pPr>
              <a:defRPr sz="3733" b="1">
                <a:latin typeface="+mj-lt"/>
              </a:defRPr>
            </a:lvl5pPr>
          </a:lstStyle>
          <a:p>
            <a:pPr lvl="0"/>
            <a:r>
              <a:rPr lang="en-GB" noProof="0"/>
              <a:t>03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0" hasCustomPrompt="1"/>
          </p:nvPr>
        </p:nvSpPr>
        <p:spPr>
          <a:xfrm>
            <a:off x="1707437" y="3612173"/>
            <a:ext cx="5140403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33" b="0">
                <a:solidFill>
                  <a:schemeClr val="tx1"/>
                </a:solidFill>
                <a:latin typeface="+mn-lt"/>
              </a:defRPr>
            </a:lvl1pPr>
            <a:lvl2pPr>
              <a:defRPr sz="3733" b="1">
                <a:latin typeface="+mj-lt"/>
              </a:defRPr>
            </a:lvl2pPr>
            <a:lvl3pPr>
              <a:defRPr sz="3733" b="1">
                <a:latin typeface="+mj-lt"/>
              </a:defRPr>
            </a:lvl3pPr>
            <a:lvl4pPr>
              <a:defRPr sz="3733" b="1">
                <a:latin typeface="+mj-lt"/>
              </a:defRPr>
            </a:lvl4pPr>
            <a:lvl5pPr>
              <a:defRPr sz="3733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42" name="Text Placeholder 3"/>
          <p:cNvSpPr>
            <a:spLocks noGrp="1"/>
          </p:cNvSpPr>
          <p:nvPr>
            <p:ph type="body" sz="quarter" idx="41" hasCustomPrompt="1"/>
          </p:nvPr>
        </p:nvSpPr>
        <p:spPr>
          <a:xfrm>
            <a:off x="7432736" y="3612173"/>
            <a:ext cx="4273629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33" b="0">
                <a:solidFill>
                  <a:schemeClr val="tx1"/>
                </a:solidFill>
                <a:latin typeface="+mn-lt"/>
              </a:defRPr>
            </a:lvl1pPr>
            <a:lvl2pPr>
              <a:defRPr sz="3733" b="1">
                <a:latin typeface="+mj-lt"/>
              </a:defRPr>
            </a:lvl2pPr>
            <a:lvl3pPr>
              <a:defRPr sz="3733" b="1">
                <a:latin typeface="+mj-lt"/>
              </a:defRPr>
            </a:lvl3pPr>
            <a:lvl4pPr>
              <a:defRPr sz="3733" b="1">
                <a:latin typeface="+mj-lt"/>
              </a:defRPr>
            </a:lvl4pPr>
            <a:lvl5pPr>
              <a:defRPr sz="3733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2" hasCustomPrompt="1"/>
          </p:nvPr>
        </p:nvSpPr>
        <p:spPr>
          <a:xfrm>
            <a:off x="479999" y="4346419"/>
            <a:ext cx="988484" cy="396000"/>
          </a:xfrm>
        </p:spPr>
        <p:txBody>
          <a:bodyPr/>
          <a:lstStyle>
            <a:lvl1pPr>
              <a:defRPr sz="3733" b="1">
                <a:solidFill>
                  <a:srgbClr val="0092CC"/>
                </a:solidFill>
                <a:latin typeface="+mj-lt"/>
              </a:defRPr>
            </a:lvl1pPr>
            <a:lvl2pPr>
              <a:defRPr sz="3733" b="1">
                <a:latin typeface="+mj-lt"/>
              </a:defRPr>
            </a:lvl2pPr>
            <a:lvl3pPr>
              <a:defRPr sz="3733" b="1">
                <a:latin typeface="+mj-lt"/>
              </a:defRPr>
            </a:lvl3pPr>
            <a:lvl4pPr>
              <a:defRPr sz="3733" b="1">
                <a:latin typeface="+mj-lt"/>
              </a:defRPr>
            </a:lvl4pPr>
            <a:lvl5pPr>
              <a:defRPr sz="3733" b="1">
                <a:latin typeface="+mj-lt"/>
              </a:defRPr>
            </a:lvl5pPr>
          </a:lstStyle>
          <a:p>
            <a:pPr lvl="0"/>
            <a:r>
              <a:rPr lang="en-GB" noProof="0"/>
              <a:t>04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3" hasCustomPrompt="1"/>
          </p:nvPr>
        </p:nvSpPr>
        <p:spPr>
          <a:xfrm>
            <a:off x="1707437" y="4346419"/>
            <a:ext cx="5140403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33" b="0">
                <a:solidFill>
                  <a:schemeClr val="tx1"/>
                </a:solidFill>
                <a:latin typeface="+mn-lt"/>
              </a:defRPr>
            </a:lvl1pPr>
            <a:lvl2pPr>
              <a:defRPr sz="3733" b="1">
                <a:latin typeface="+mj-lt"/>
              </a:defRPr>
            </a:lvl2pPr>
            <a:lvl3pPr>
              <a:defRPr sz="3733" b="1">
                <a:latin typeface="+mj-lt"/>
              </a:defRPr>
            </a:lvl3pPr>
            <a:lvl4pPr>
              <a:defRPr sz="3733" b="1">
                <a:latin typeface="+mj-lt"/>
              </a:defRPr>
            </a:lvl4pPr>
            <a:lvl5pPr>
              <a:defRPr sz="3733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45" name="Text Placeholder 3"/>
          <p:cNvSpPr>
            <a:spLocks noGrp="1"/>
          </p:cNvSpPr>
          <p:nvPr>
            <p:ph type="body" sz="quarter" idx="44" hasCustomPrompt="1"/>
          </p:nvPr>
        </p:nvSpPr>
        <p:spPr>
          <a:xfrm>
            <a:off x="7432736" y="4346419"/>
            <a:ext cx="4273629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33" b="0">
                <a:solidFill>
                  <a:schemeClr val="tx1"/>
                </a:solidFill>
                <a:latin typeface="+mn-lt"/>
              </a:defRPr>
            </a:lvl1pPr>
            <a:lvl2pPr>
              <a:defRPr sz="3733" b="1">
                <a:latin typeface="+mj-lt"/>
              </a:defRPr>
            </a:lvl2pPr>
            <a:lvl3pPr>
              <a:defRPr sz="3733" b="1">
                <a:latin typeface="+mj-lt"/>
              </a:defRPr>
            </a:lvl3pPr>
            <a:lvl4pPr>
              <a:defRPr sz="3733" b="1">
                <a:latin typeface="+mj-lt"/>
              </a:defRPr>
            </a:lvl4pPr>
            <a:lvl5pPr>
              <a:defRPr sz="3733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45" hasCustomPrompt="1"/>
          </p:nvPr>
        </p:nvSpPr>
        <p:spPr>
          <a:xfrm>
            <a:off x="479999" y="5080663"/>
            <a:ext cx="988484" cy="396000"/>
          </a:xfrm>
        </p:spPr>
        <p:txBody>
          <a:bodyPr/>
          <a:lstStyle>
            <a:lvl1pPr>
              <a:defRPr sz="3733" b="1">
                <a:solidFill>
                  <a:srgbClr val="0092CC"/>
                </a:solidFill>
                <a:latin typeface="+mj-lt"/>
              </a:defRPr>
            </a:lvl1pPr>
            <a:lvl2pPr>
              <a:defRPr sz="3733" b="1">
                <a:latin typeface="+mj-lt"/>
              </a:defRPr>
            </a:lvl2pPr>
            <a:lvl3pPr>
              <a:defRPr sz="3733" b="1">
                <a:latin typeface="+mj-lt"/>
              </a:defRPr>
            </a:lvl3pPr>
            <a:lvl4pPr>
              <a:defRPr sz="3733" b="1">
                <a:latin typeface="+mj-lt"/>
              </a:defRPr>
            </a:lvl4pPr>
            <a:lvl5pPr>
              <a:defRPr sz="3733" b="1">
                <a:latin typeface="+mj-lt"/>
              </a:defRPr>
            </a:lvl5pPr>
          </a:lstStyle>
          <a:p>
            <a:pPr lvl="0"/>
            <a:r>
              <a:rPr lang="en-GB" noProof="0"/>
              <a:t>05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46" hasCustomPrompt="1"/>
          </p:nvPr>
        </p:nvSpPr>
        <p:spPr>
          <a:xfrm>
            <a:off x="1707437" y="5080663"/>
            <a:ext cx="5140403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33" b="0">
                <a:solidFill>
                  <a:schemeClr val="tx1"/>
                </a:solidFill>
                <a:latin typeface="+mn-lt"/>
              </a:defRPr>
            </a:lvl1pPr>
            <a:lvl2pPr>
              <a:defRPr sz="3733" b="1">
                <a:latin typeface="+mj-lt"/>
              </a:defRPr>
            </a:lvl2pPr>
            <a:lvl3pPr>
              <a:defRPr sz="3733" b="1">
                <a:latin typeface="+mj-lt"/>
              </a:defRPr>
            </a:lvl3pPr>
            <a:lvl4pPr>
              <a:defRPr sz="3733" b="1">
                <a:latin typeface="+mj-lt"/>
              </a:defRPr>
            </a:lvl4pPr>
            <a:lvl5pPr>
              <a:defRPr sz="3733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47" hasCustomPrompt="1"/>
          </p:nvPr>
        </p:nvSpPr>
        <p:spPr>
          <a:xfrm>
            <a:off x="7432736" y="5080663"/>
            <a:ext cx="4273629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33" b="0">
                <a:solidFill>
                  <a:schemeClr val="tx1"/>
                </a:solidFill>
                <a:latin typeface="+mn-lt"/>
              </a:defRPr>
            </a:lvl1pPr>
            <a:lvl2pPr>
              <a:defRPr sz="3733" b="1">
                <a:latin typeface="+mj-lt"/>
              </a:defRPr>
            </a:lvl2pPr>
            <a:lvl3pPr>
              <a:defRPr sz="3733" b="1">
                <a:latin typeface="+mj-lt"/>
              </a:defRPr>
            </a:lvl3pPr>
            <a:lvl4pPr>
              <a:defRPr sz="3733" b="1">
                <a:latin typeface="+mj-lt"/>
              </a:defRPr>
            </a:lvl4pPr>
            <a:lvl5pPr>
              <a:defRPr sz="3733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8" hasCustomPrompt="1"/>
          </p:nvPr>
        </p:nvSpPr>
        <p:spPr>
          <a:xfrm>
            <a:off x="479999" y="5814911"/>
            <a:ext cx="988484" cy="396000"/>
          </a:xfrm>
        </p:spPr>
        <p:txBody>
          <a:bodyPr/>
          <a:lstStyle>
            <a:lvl1pPr>
              <a:defRPr sz="3733" b="1">
                <a:solidFill>
                  <a:srgbClr val="0092CC"/>
                </a:solidFill>
                <a:latin typeface="+mj-lt"/>
              </a:defRPr>
            </a:lvl1pPr>
            <a:lvl2pPr>
              <a:defRPr sz="3733" b="1">
                <a:latin typeface="+mj-lt"/>
              </a:defRPr>
            </a:lvl2pPr>
            <a:lvl3pPr>
              <a:defRPr sz="3733" b="1">
                <a:latin typeface="+mj-lt"/>
              </a:defRPr>
            </a:lvl3pPr>
            <a:lvl4pPr>
              <a:defRPr sz="3733" b="1">
                <a:latin typeface="+mj-lt"/>
              </a:defRPr>
            </a:lvl4pPr>
            <a:lvl5pPr>
              <a:defRPr sz="3733" b="1">
                <a:latin typeface="+mj-lt"/>
              </a:defRPr>
            </a:lvl5pPr>
          </a:lstStyle>
          <a:p>
            <a:pPr lvl="0"/>
            <a:r>
              <a:rPr lang="en-GB" noProof="0"/>
              <a:t>06</a:t>
            </a:r>
          </a:p>
        </p:txBody>
      </p:sp>
      <p:sp>
        <p:nvSpPr>
          <p:cNvPr id="50" name="Text Placeholder 3"/>
          <p:cNvSpPr>
            <a:spLocks noGrp="1"/>
          </p:cNvSpPr>
          <p:nvPr>
            <p:ph type="body" sz="quarter" idx="49" hasCustomPrompt="1"/>
          </p:nvPr>
        </p:nvSpPr>
        <p:spPr>
          <a:xfrm>
            <a:off x="1707437" y="5814911"/>
            <a:ext cx="5140403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33" b="0">
                <a:solidFill>
                  <a:schemeClr val="tx1"/>
                </a:solidFill>
                <a:latin typeface="+mn-lt"/>
              </a:defRPr>
            </a:lvl1pPr>
            <a:lvl2pPr>
              <a:defRPr sz="3733" b="1">
                <a:latin typeface="+mj-lt"/>
              </a:defRPr>
            </a:lvl2pPr>
            <a:lvl3pPr>
              <a:defRPr sz="3733" b="1">
                <a:latin typeface="+mj-lt"/>
              </a:defRPr>
            </a:lvl3pPr>
            <a:lvl4pPr>
              <a:defRPr sz="3733" b="1">
                <a:latin typeface="+mj-lt"/>
              </a:defRPr>
            </a:lvl4pPr>
            <a:lvl5pPr>
              <a:defRPr sz="3733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51" name="Text Placeholder 3"/>
          <p:cNvSpPr>
            <a:spLocks noGrp="1"/>
          </p:cNvSpPr>
          <p:nvPr>
            <p:ph type="body" sz="quarter" idx="50" hasCustomPrompt="1"/>
          </p:nvPr>
        </p:nvSpPr>
        <p:spPr>
          <a:xfrm>
            <a:off x="7432736" y="5814911"/>
            <a:ext cx="4273629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33" b="0">
                <a:solidFill>
                  <a:schemeClr val="tx1"/>
                </a:solidFill>
                <a:latin typeface="+mn-lt"/>
              </a:defRPr>
            </a:lvl1pPr>
            <a:lvl2pPr>
              <a:defRPr sz="3733" b="1">
                <a:latin typeface="+mj-lt"/>
              </a:defRPr>
            </a:lvl2pPr>
            <a:lvl3pPr>
              <a:defRPr sz="3733" b="1">
                <a:latin typeface="+mj-lt"/>
              </a:defRPr>
            </a:lvl3pPr>
            <a:lvl4pPr>
              <a:defRPr sz="3733" b="1">
                <a:latin typeface="+mj-lt"/>
              </a:defRPr>
            </a:lvl4pPr>
            <a:lvl5pPr>
              <a:defRPr sz="3733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0485" y="1188004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2133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339694560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8F2AE24-6C3D-4363-8DA8-E9E849065A01}" type="datetime1">
              <a:rPr lang="en-GB" smtClean="0">
                <a:solidFill>
                  <a:prstClr val="black"/>
                </a:solidFill>
              </a:rPr>
              <a:pPr/>
              <a:t>11/07/2024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GB" dirty="0">
                <a:solidFill>
                  <a:prstClr val="black"/>
                </a:solidFill>
              </a:rPr>
              <a:t>| Title of the pre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A74CE0EA-F3B5-4684-BA10-C594598FDB9C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80000" y="6293653"/>
            <a:ext cx="11226365" cy="208579"/>
          </a:xfrm>
        </p:spPr>
        <p:txBody>
          <a:bodyPr anchor="t">
            <a:normAutofit/>
          </a:bodyPr>
          <a:lstStyle>
            <a:lvl1pPr>
              <a:defRPr sz="1067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80485" y="1188004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2133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6686267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Picture Placeholder 4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/>
          </a:solidFill>
        </p:spPr>
        <p:txBody>
          <a:bodyPr bIns="1980000" anchor="ctr">
            <a:normAutofit/>
          </a:bodyPr>
          <a:lstStyle>
            <a:lvl1pPr marL="0" marR="0" indent="0" algn="ctr" defTabSz="1219170" rtl="0" eaLnBrk="1" fontAlgn="auto" latinLnBrk="0" hangingPunct="1">
              <a:lnSpc>
                <a:spcPct val="110000"/>
              </a:lnSpc>
              <a:spcBef>
                <a:spcPts val="1333"/>
              </a:spcBef>
              <a:spcAft>
                <a:spcPts val="800"/>
              </a:spcAft>
              <a:buClr>
                <a:schemeClr val="tx1"/>
              </a:buClr>
              <a:buSzPct val="80000"/>
              <a:buFontTx/>
              <a:buNone/>
              <a:tabLst/>
              <a:defRPr sz="1867">
                <a:solidFill>
                  <a:schemeClr val="accent6"/>
                </a:solidFill>
              </a:defRPr>
            </a:lvl1pPr>
          </a:lstStyle>
          <a:p>
            <a:r>
              <a:rPr lang="en-GB" noProof="0" dirty="0"/>
              <a:t>Click on Icon to add picture, then arrange object (send to back)</a:t>
            </a:r>
            <a:br>
              <a:rPr lang="en-GB" noProof="0" dirty="0"/>
            </a:br>
            <a:r>
              <a:rPr lang="en-GB" noProof="0" dirty="0"/>
              <a:t>Change picture either by right mouse click on picture + „change picture“ </a:t>
            </a:r>
            <a:br>
              <a:rPr lang="en-GB" noProof="0" dirty="0"/>
            </a:br>
            <a:r>
              <a:rPr lang="en-GB" noProof="0" dirty="0"/>
              <a:t>or by deleting picture + resetting slide</a:t>
            </a: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0000" y="6507005"/>
            <a:ext cx="5971600" cy="247651"/>
          </a:xfrm>
        </p:spPr>
        <p:txBody>
          <a:bodyPr anchor="ctr">
            <a:noAutofit/>
          </a:bodyPr>
          <a:lstStyle>
            <a:lvl1pPr>
              <a:defRPr sz="1333" b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 dirty="0"/>
              <a:t>Name of Author  |  Function | Division | Country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" y="4482000"/>
            <a:ext cx="12191999" cy="1656000"/>
          </a:xfrm>
          <a:solidFill>
            <a:schemeClr val="tx2">
              <a:alpha val="90000"/>
            </a:schemeClr>
          </a:solidFill>
        </p:spPr>
        <p:txBody>
          <a:bodyPr lIns="360000" tIns="216000" rIns="360000" bIns="216000" numCol="3"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867" b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GB" b="1" noProof="0" dirty="0"/>
              <a:t>WHO</a:t>
            </a:r>
          </a:p>
          <a:p>
            <a:r>
              <a:rPr lang="en-GB" noProof="0" dirty="0"/>
              <a:t>20, Avenue </a:t>
            </a:r>
            <a:r>
              <a:rPr lang="en-GB" noProof="0" dirty="0" err="1"/>
              <a:t>Appia</a:t>
            </a:r>
            <a:r>
              <a:rPr lang="en-GB" noProof="0" dirty="0"/>
              <a:t> </a:t>
            </a:r>
            <a:br>
              <a:rPr lang="en-GB" noProof="0" dirty="0"/>
            </a:br>
            <a:r>
              <a:rPr lang="en-GB" noProof="0" dirty="0"/>
              <a:t>1211 Geneva</a:t>
            </a:r>
          </a:p>
          <a:p>
            <a:r>
              <a:rPr lang="en-GB" noProof="0" dirty="0"/>
              <a:t>Switzerland</a:t>
            </a:r>
          </a:p>
          <a:p>
            <a:endParaRPr lang="en-GB" noProof="0" dirty="0"/>
          </a:p>
          <a:p>
            <a:r>
              <a:rPr lang="en-GB" noProof="0" dirty="0"/>
              <a:t>Tel.: +xx</a:t>
            </a:r>
            <a:br>
              <a:rPr lang="en-GB" noProof="0" dirty="0"/>
            </a:br>
            <a:r>
              <a:rPr lang="en-GB" noProof="0" dirty="0"/>
              <a:t>Fax: +xx</a:t>
            </a:r>
          </a:p>
        </p:txBody>
      </p:sp>
      <p:sp>
        <p:nvSpPr>
          <p:cNvPr id="35" name="Picture Placeholder 8"/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7460690" y="488563"/>
            <a:ext cx="4230495" cy="11124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algn="ctr">
              <a:defRPr sz="133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.</a:t>
            </a:r>
          </a:p>
        </p:txBody>
      </p:sp>
      <p:sp>
        <p:nvSpPr>
          <p:cNvPr id="37" name="Text Placeholder 3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9495913" y="6476049"/>
            <a:ext cx="2195259" cy="247651"/>
          </a:xfrm>
        </p:spPr>
        <p:txBody>
          <a:bodyPr rIns="0" anchor="ctr">
            <a:noAutofit/>
          </a:bodyPr>
          <a:lstStyle>
            <a:lvl1pPr algn="ctr">
              <a:defRPr sz="2133" b="1" spc="0" baseline="0">
                <a:solidFill>
                  <a:schemeClr val="tx2"/>
                </a:solidFill>
                <a:latin typeface="+mj-lt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/>
              <a:t>www.who.int</a:t>
            </a:r>
          </a:p>
        </p:txBody>
      </p:sp>
      <p:sp>
        <p:nvSpPr>
          <p:cNvPr id="39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0" y="485189"/>
            <a:ext cx="7344000" cy="1119159"/>
          </a:xfrm>
          <a:noFill/>
        </p:spPr>
        <p:txBody>
          <a:bodyPr lIns="360000" tIns="72000" rIns="450000" bIns="180000" anchor="t" anchorCtr="0">
            <a:noAutofit/>
          </a:bodyPr>
          <a:lstStyle>
            <a:lvl1pPr algn="l">
              <a:lnSpc>
                <a:spcPct val="85000"/>
              </a:lnSpc>
              <a:defRPr sz="5600">
                <a:solidFill>
                  <a:srgbClr val="0092CC"/>
                </a:solidFill>
                <a:latin typeface="+mj-lt"/>
              </a:defRPr>
            </a:lvl1pPr>
          </a:lstStyle>
          <a:p>
            <a:r>
              <a:rPr lang="en-GB" noProof="0" dirty="0"/>
              <a:t>Click to edit </a:t>
            </a:r>
            <a:br>
              <a:rPr lang="en-GB" noProof="0" dirty="0"/>
            </a:br>
            <a:r>
              <a:rPr lang="en-GB" noProof="0" dirty="0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2192563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3FC60E-A98C-4032-BB8E-CAA18AAD4872}" type="datetimeFigureOut">
              <a:rPr lang="en-US" smtClean="0">
                <a:solidFill>
                  <a:prstClr val="black"/>
                </a:solidFill>
              </a:rPr>
              <a:pPr/>
              <a:t>7/11/24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30FF15-3255-4999-9A04-4DE8D24FDC8B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55342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2AD4E1-15D4-43CB-93A2-53BF5B4980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LID4096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C7A50C-4868-4C4C-9D9B-DFAD3003F1D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411325671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pter Intro large Tex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Date Placeholder 17"/>
          <p:cNvSpPr>
            <a:spLocks noGrp="1"/>
          </p:cNvSpPr>
          <p:nvPr>
            <p:ph type="dt" sz="half" idx="14"/>
          </p:nvPr>
        </p:nvSpPr>
        <p:spPr bwMode="invGray"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0CC27D-0020-48D4-9B6C-9E6EA0640D93}" type="datetime1">
              <a:rPr lang="en-GB" smtClean="0">
                <a:solidFill>
                  <a:prstClr val="black"/>
                </a:solidFill>
              </a:rPr>
              <a:pPr/>
              <a:t>11/07/2024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9" name="Footer Placeholder 18"/>
          <p:cNvSpPr>
            <a:spLocks noGrp="1"/>
          </p:cNvSpPr>
          <p:nvPr>
            <p:ph type="ftr" sz="quarter" idx="15"/>
          </p:nvPr>
        </p:nvSpPr>
        <p:spPr bwMode="invGray">
          <a:noFill/>
        </p:spPr>
        <p:txBody>
          <a:bodyPr/>
          <a:lstStyle/>
          <a:p>
            <a:r>
              <a:rPr lang="en-GB" dirty="0">
                <a:solidFill>
                  <a:prstClr val="black"/>
                </a:solidFill>
              </a:rPr>
              <a:t>|     Title of the presentation</a:t>
            </a:r>
          </a:p>
        </p:txBody>
      </p:sp>
      <p:sp>
        <p:nvSpPr>
          <p:cNvPr id="20" name="Slide Number Placeholder 19"/>
          <p:cNvSpPr>
            <a:spLocks noGrp="1"/>
          </p:cNvSpPr>
          <p:nvPr>
            <p:ph type="sldNum" sz="quarter" idx="16"/>
          </p:nvPr>
        </p:nvSpPr>
        <p:spPr bwMode="invGray">
          <a:noFill/>
        </p:spPr>
        <p:txBody>
          <a:bodyPr/>
          <a:lstStyle/>
          <a:p>
            <a:fld id="{A74CE0EA-F3B5-4684-BA10-C594598FDB9C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61"/>
            <a:ext cx="11226365" cy="208579"/>
          </a:xfrm>
          <a:noFill/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 bwMode="invGray">
          <a:noFill/>
        </p:spPr>
        <p:txBody>
          <a:bodyPr/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12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8"/>
          </p:nvPr>
        </p:nvSpPr>
        <p:spPr bwMode="invGray">
          <a:xfrm>
            <a:off x="480000" y="1800000"/>
            <a:ext cx="11226365" cy="4237200"/>
          </a:xfrm>
          <a:noFill/>
        </p:spPr>
        <p:txBody>
          <a:bodyPr lIns="0" tIns="0" rIns="0" bIns="0"/>
          <a:lstStyle>
            <a:lvl1pPr>
              <a:lnSpc>
                <a:spcPct val="110000"/>
              </a:lnSpc>
              <a:defRPr sz="1400" b="1"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0085001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51933" y="909457"/>
            <a:ext cx="10193867" cy="360363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733" b="1" i="0">
                <a:solidFill>
                  <a:srgbClr val="007C8A"/>
                </a:solidFill>
                <a:latin typeface="Arial Narrow"/>
                <a:cs typeface="Arial Narrow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651933" y="1381436"/>
            <a:ext cx="10972800" cy="4976813"/>
          </a:xfrm>
          <a:prstGeom prst="rect">
            <a:avLst/>
          </a:prstGeom>
        </p:spPr>
        <p:txBody>
          <a:bodyPr vert="horz"/>
          <a:lstStyle>
            <a:lvl1pPr marL="380990" indent="-380990">
              <a:buFont typeface="Arial"/>
              <a:buChar char="•"/>
              <a:defRPr sz="2133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6" name="CuadroTexto 15"/>
          <p:cNvSpPr txBox="1"/>
          <p:nvPr userDrawn="1"/>
        </p:nvSpPr>
        <p:spPr>
          <a:xfrm>
            <a:off x="487318" y="6651290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s-ES" sz="2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88299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BC4859-4FE1-4775-AAD6-7A5342BA9B8E}" type="datetimeFigureOut">
              <a:rPr lang="en-GB" smtClean="0"/>
              <a:t>11/07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7D657-D2B8-4999-B7AC-B05E8B566B37}" type="slidenum">
              <a:rPr lang="en-GB" smtClean="0"/>
              <a:t>‹#›</a:t>
            </a:fld>
            <a:endParaRPr lang="en-GB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/>
          <a:srcRect l="22317" t="6305" r="12519" b="10382"/>
          <a:stretch/>
        </p:blipFill>
        <p:spPr>
          <a:xfrm rot="5400000">
            <a:off x="5807243" y="-5811670"/>
            <a:ext cx="577516" cy="12192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/>
          <a:srcRect l="22317" t="6305" r="12519" b="10382"/>
          <a:stretch/>
        </p:blipFill>
        <p:spPr>
          <a:xfrm rot="16200000">
            <a:off x="5807243" y="473242"/>
            <a:ext cx="577516" cy="1219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578743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6AB6619-32FD-4216-868D-92D1C4029C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F5C6AA-56E9-4F5B-BBD6-1F948D8D7CBD}" type="datetimeFigureOut">
              <a:rPr lang="en-GB" smtClean="0"/>
              <a:t>11/07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5EDF010-E37F-419A-9AB3-BB26531AB6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0A74EE-7BB8-44E0-94FD-65972D809E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170D57-4901-41F4-A16A-54A922E051E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817923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4556709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ED2C078-C717-424B-B9FE-6F011D02A9C9}"/>
              </a:ext>
            </a:extLst>
          </p:cNvPr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 b="0" i="0">
                <a:latin typeface="Lato Light" panose="020F0502020204030203" pitchFamily="34" charset="0"/>
              </a:defRPr>
            </a:lvl1pPr>
          </a:lstStyle>
          <a:p>
            <a:endParaRPr lang="en-US" alt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1F6D121-094D-694C-ADF6-7B92DE81EA24}"/>
              </a:ext>
            </a:extLst>
          </p:cNvPr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 b="0" i="0">
                <a:latin typeface="Lato Light" panose="020F0502020204030203" pitchFamily="34" charset="0"/>
              </a:defRPr>
            </a:lvl1pPr>
          </a:lstStyle>
          <a:p>
            <a:endParaRPr lang="en-US" alt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7C2895-D76A-AC4F-83DC-9A910ADB2749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 b="0" i="0">
                <a:latin typeface="Lato Light" panose="020F0502020204030203" pitchFamily="34" charset="0"/>
              </a:defRPr>
            </a:lvl1pPr>
          </a:lstStyle>
          <a:p>
            <a:fld id="{5BD5DBDD-B399-7246-BD72-1C2F585031C6}" type="slidenum">
              <a:rPr lang="en-US" altLang="en-US" smtClean="0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6731649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5042591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86B23F-BB96-4DBD-ADE7-6FE6F5496E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A9D4B1-DD11-48FC-A767-4AC8443FCEF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276E8D-B4A9-4FD9-B98B-0BD91DD22F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7/11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27A90C-45C0-4217-8FE9-9D7BA7C6DF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3FA520-63A7-464E-99D8-F9B13C2062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774123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42E471-EF90-4E8D-A146-1BDA043139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042D8E-3AB1-492A-9F89-9C8272434C8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A56F617-C396-4B05-9E68-37C29DD38C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7/11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189015-7C49-4113-ACC3-F777D3065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CD9FB4-9B3D-4B91-A273-70A51E8A5D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556314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5B54EF-18D0-4F61-ADE9-3B2E7F1025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0DB9D6-6F43-4CE9-B241-EBA68090DB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0FAE21-EBCE-4C27-AD26-84DDE4D90C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7/11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FAEF519-63BE-458F-A9E9-F447A46A23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F1C392-AC6C-4637-825D-48C2E4D414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31424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B268A44-AFA6-4E6A-9043-3B05BB94B5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12192000" cy="914400"/>
          </a:xfrm>
          <a:solidFill>
            <a:schemeClr val="tx2"/>
          </a:solidFill>
        </p:spPr>
        <p:txBody>
          <a:bodyPr lIns="182880" tIns="91440" rIns="182880" anchor="ctr" anchorCtr="1">
            <a:normAutofit/>
          </a:bodyPr>
          <a:lstStyle>
            <a:lvl1pPr marL="0" indent="0">
              <a:buNone/>
              <a:defRPr sz="3600" b="1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CH"/>
              <a:t>Click to </a:t>
            </a:r>
            <a:r>
              <a:rPr lang="fr-CH" err="1"/>
              <a:t>add</a:t>
            </a:r>
            <a:r>
              <a:rPr lang="fr-CH"/>
              <a:t> slide message</a:t>
            </a:r>
            <a:endParaRPr lang="LID4096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6F962F61-47A0-4BC8-8272-DE84D4189D0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57200" y="1371600"/>
            <a:ext cx="11430000" cy="4754880"/>
          </a:xfrm>
        </p:spPr>
        <p:txBody>
          <a:bodyPr anchor="t" anchorCtr="1">
            <a:normAutofit/>
          </a:bodyPr>
          <a:lstStyle>
            <a:lvl1pPr marL="0" indent="0">
              <a:buNone/>
              <a:defRPr sz="2000" baseline="0"/>
            </a:lvl1pPr>
          </a:lstStyle>
          <a:p>
            <a:pPr lvl="0"/>
            <a:r>
              <a:rPr lang="en-US"/>
              <a:t>Click to add chart title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880DBD3E-5772-4DAB-BDAD-C8109B21132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9264" y="6406921"/>
            <a:ext cx="1199046" cy="152349"/>
          </a:xfrm>
        </p:spPr>
        <p:txBody>
          <a:bodyPr wrap="none" lIns="0" tIns="0" rIns="0" bIns="0" anchor="t" anchorCtr="0">
            <a:spAutoFit/>
          </a:bodyPr>
          <a:lstStyle>
            <a:lvl1pPr marL="0" indent="0">
              <a:buNone/>
              <a:defRPr sz="1100" baseline="0"/>
            </a:lvl1pPr>
          </a:lstStyle>
          <a:p>
            <a:pPr lvl="0"/>
            <a:r>
              <a:rPr lang="en-US"/>
              <a:t>Click to add sourc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632588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55E16B-3635-4962-9376-22BACD0795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849B6A-633B-43AB-AE1F-EA010B51495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C522B7C-3EC7-4C2E-904F-D57801F882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051A917-D764-4EEA-8363-689FD9D81D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7/11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78DDFA7-179B-47F2-9CFA-9F654E10DD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BE97A3A-B25E-4258-A5F3-E321AC1683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22279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0CCEED-FBA8-43F5-AA4E-93AAA97A79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83E67CA-688B-4232-8F39-25038792F22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AE58DCE-BD2D-477F-A4B8-58009A07141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712F598-CCE0-45DC-B5EC-B552D6DEEE3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6B429D7-C369-4B9A-A8C9-FCE5E5E48A8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498359A-9DEE-4EB8-A82F-AC9AC98860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7/11/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902B9B1-E6DB-43DD-8F3C-A4EBC70E52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691E15F-33AD-4924-934F-7470BCC869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758442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9B4C4D-0519-4A89-BB2A-C2E2EF5101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D110571-A45F-4453-8704-B4FEF82BB2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7/11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75319A-3874-4BC6-947A-006D45E1ED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0A297A1-6D0E-4569-B6D8-5036286021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078153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A29F875-30DB-42AA-BFF1-A82F698B9B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7/11/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12A367C-6BDE-418E-A315-F2AF40C52A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6502FE-02CD-4FAF-B5A2-AECB135F3D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16373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E50C71-9CDA-4909-8BFD-72893B0D79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B55E07-2C50-4524-BAA9-AD4661FCA3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995C14A-BF4E-48F9-96A9-210521F3A30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0E2EA38-5E8B-4475-BB4D-81045E95E1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7/11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FDE5C28-8D6E-407F-87C9-126D31FC51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8E19C49-B500-47EB-BC82-6CE540CA4C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872321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6E6526-09A4-4BC8-BEA7-A3255DC5E6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B5016B0-FD10-4234-B015-2757292261C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92B0A65-2455-4D6F-821C-2EFBC64AD5C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FAB98AB-7F3E-4EC4-A816-BA072F7D2E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7/11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04A6E9F-1441-4378-A685-0F98321451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A2F9A06-C8CF-4242-B7EC-DA7B08568E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64006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B55217-B6FB-4A35-9486-55F1ED5C18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1F7304A-E900-4669-A6FB-BF3E84CA0B8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F57FD9-8C9F-45A3-9150-3464548BCE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7/11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F7C62-097F-462E-8E8A-AF56004D2A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C72656-330F-4E72-952E-8F7B5D5179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136106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CFCEDD2-91E8-4BA0-84EB-BFBF1E22553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6F862DE-9C29-4423-9900-870D63622C9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96EE1DF-1D41-47FA-956F-1C37F4F729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C6C86-516E-43E0-8C01-723A2A5FFE6F}" type="datetimeFigureOut">
              <a:rPr lang="en-US" smtClean="0"/>
              <a:t>7/11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2C1385-3F94-4112-AF6D-C4805DEEAA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2AD8EB-6E3F-41C0-A9F8-7C49FDB675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423281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0372639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B6F477A-E39C-46AF-BBA5-3E343653EB42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57200" y="1371600"/>
            <a:ext cx="11430000" cy="4389120"/>
          </a:xfrm>
        </p:spPr>
        <p:txBody>
          <a:bodyPr anchor="t" anchorCtr="1">
            <a:normAutofit/>
          </a:bodyPr>
          <a:lstStyle>
            <a:lvl1pPr marL="0" indent="0">
              <a:buNone/>
              <a:defRPr sz="2000" baseline="0"/>
            </a:lvl1pPr>
          </a:lstStyle>
          <a:p>
            <a:pPr lvl="0"/>
            <a:r>
              <a:rPr lang="fr-CH"/>
              <a:t>Click to </a:t>
            </a:r>
            <a:r>
              <a:rPr lang="fr-CH" err="1"/>
              <a:t>add</a:t>
            </a:r>
            <a:r>
              <a:rPr lang="fr-CH"/>
              <a:t> chart </a:t>
            </a:r>
            <a:r>
              <a:rPr lang="fr-CH" err="1"/>
              <a:t>title</a:t>
            </a:r>
            <a:endParaRPr lang="LID4096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F628AA1-34C1-48F7-AB8F-F525ED2C316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12192000" cy="914400"/>
          </a:xfrm>
          <a:solidFill>
            <a:schemeClr val="tx2"/>
          </a:solidFill>
        </p:spPr>
        <p:txBody>
          <a:bodyPr wrap="none" lIns="182880" tIns="91440" rIns="182880" anchor="ctr" anchorCtr="1">
            <a:normAutofit/>
          </a:bodyPr>
          <a:lstStyle>
            <a:lvl1pPr marL="0" indent="0">
              <a:buNone/>
              <a:defRPr sz="3600" b="1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CH"/>
              <a:t>Click to </a:t>
            </a:r>
            <a:r>
              <a:rPr lang="fr-CH" err="1"/>
              <a:t>add</a:t>
            </a:r>
            <a:r>
              <a:rPr lang="fr-CH"/>
              <a:t> slide message</a:t>
            </a:r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41881820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B6F477A-E39C-46AF-BBA5-3E343653EB42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57200" y="1371600"/>
            <a:ext cx="11430000" cy="4754880"/>
          </a:xfrm>
        </p:spPr>
        <p:txBody>
          <a:bodyPr anchor="t" anchorCtr="1">
            <a:normAutofit/>
          </a:bodyPr>
          <a:lstStyle>
            <a:lvl1pPr marL="0" indent="0">
              <a:buNone/>
              <a:defRPr sz="2000" baseline="0"/>
            </a:lvl1pPr>
          </a:lstStyle>
          <a:p>
            <a:pPr lvl="0"/>
            <a:r>
              <a:rPr lang="en-US"/>
              <a:t>Click to add chart 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F628AA1-34C1-48F7-AB8F-F525ED2C316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12192000" cy="914400"/>
          </a:xfrm>
          <a:solidFill>
            <a:schemeClr val="accent2"/>
          </a:solidFill>
        </p:spPr>
        <p:txBody>
          <a:bodyPr lIns="182880" tIns="91440" rIns="182880" anchor="ctr" anchorCtr="1">
            <a:normAutofit/>
          </a:bodyPr>
          <a:lstStyle>
            <a:lvl1pPr marL="0" indent="0">
              <a:buNone/>
              <a:defRPr sz="3600" b="1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CH"/>
              <a:t>Click to </a:t>
            </a:r>
            <a:r>
              <a:rPr lang="fr-CH" err="1"/>
              <a:t>add</a:t>
            </a:r>
            <a:r>
              <a:rPr lang="fr-CH"/>
              <a:t> slide message</a:t>
            </a:r>
            <a:endParaRPr lang="LID4096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86414DA8-183A-4EE5-A41F-C6F388A38D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9264" y="6406921"/>
            <a:ext cx="1199046" cy="152349"/>
          </a:xfrm>
        </p:spPr>
        <p:txBody>
          <a:bodyPr wrap="none" lIns="0" tIns="0" rIns="0" bIns="0" anchor="t" anchorCtr="0">
            <a:spAutoFit/>
          </a:bodyPr>
          <a:lstStyle>
            <a:lvl1pPr marL="0" indent="0">
              <a:buNone/>
              <a:defRPr sz="1100" baseline="0"/>
            </a:lvl1pPr>
          </a:lstStyle>
          <a:p>
            <a:pPr lvl="0"/>
            <a:r>
              <a:rPr lang="en-US"/>
              <a:t>Click to add sourc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148765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Imag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90ED7CE-A9D2-4D19-B978-56BFB74E657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-1"/>
            <a:ext cx="6096000" cy="6371351"/>
          </a:xfrm>
          <a:solidFill>
            <a:schemeClr val="bg1">
              <a:lumMod val="95000"/>
            </a:schemeClr>
          </a:solidFill>
        </p:spPr>
        <p:txBody>
          <a:bodyPr tIns="1584000" anchor="t"/>
          <a:lstStyle>
            <a:lvl1pPr marL="0" indent="0" algn="ctr">
              <a:buNone/>
              <a:defRPr sz="12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noProof="0" dirty="0"/>
              <a:t>Insert or Drag &amp; Drop your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0EE479C-D1F6-4BAC-80D2-90EF74E326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1800" y="3802899"/>
            <a:ext cx="4648200" cy="985000"/>
          </a:xfrm>
          <a:solidFill>
            <a:schemeClr val="bg1"/>
          </a:solidFill>
        </p:spPr>
        <p:txBody>
          <a:bodyPr lIns="180000" tIns="180000" rIns="180000" bIns="180000"/>
          <a:lstStyle>
            <a:lvl1pPr algn="r">
              <a:defRPr sz="6000" b="1" spc="-3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/>
              <a:t>Edit page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FAEED1D-0E66-4F74-9455-675F5CB7EAD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111800" y="4787900"/>
            <a:ext cx="4648200" cy="1162800"/>
          </a:xfrm>
          <a:solidFill>
            <a:schemeClr val="tx1">
              <a:alpha val="80000"/>
            </a:schemeClr>
          </a:solidFill>
        </p:spPr>
        <p:txBody>
          <a:bodyPr lIns="180000" tIns="180000" rIns="180000" bIns="180000"/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2238F2-C6EC-476F-8371-119AECBA562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32000" y="2668686"/>
            <a:ext cx="5472000" cy="2999426"/>
          </a:xfrm>
        </p:spPr>
        <p:txBody>
          <a:bodyPr anchor="b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847F90-9DB6-4832-9EB7-393AADAE8B7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noProof="0" dirty="0"/>
              <a:t>Add a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505ED12-A431-4761-87A4-F05164BE0221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508F53F-6AA2-4060-904A-BC90211DC043}"/>
              </a:ext>
            </a:extLst>
          </p:cNvPr>
          <p:cNvSpPr/>
          <p:nvPr userDrawn="1"/>
        </p:nvSpPr>
        <p:spPr>
          <a:xfrm>
            <a:off x="9348588" y="3700775"/>
            <a:ext cx="2411412" cy="11482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6514084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3849825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7FFD41-30EB-1D41-AD2F-532F491D6C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882744" cy="7298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9999"/>
                </a:solidFill>
              </a:defRPr>
            </a:lvl1pPr>
          </a:lstStyle>
          <a:p>
            <a:r>
              <a:rPr lang="en-US" dirty="0"/>
              <a:t>Click to edit headl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B7360-C084-D846-AED8-C06AFEFD52D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683327"/>
            <a:ext cx="10882745" cy="4493636"/>
          </a:xfrm>
          <a:prstGeom prst="rect">
            <a:avLst/>
          </a:prstGeom>
        </p:spPr>
        <p:txBody>
          <a:bodyPr/>
          <a:lstStyle>
            <a:lvl1pPr>
              <a:buSzPct val="80000"/>
              <a:buFont typeface="Wingdings" pitchFamily="2" charset="2"/>
              <a:buChar char="§"/>
              <a:defRPr sz="2500" baseline="0"/>
            </a:lvl1pPr>
            <a:lvl2pPr marL="800100" indent="-342900">
              <a:buSzPct val="60000"/>
              <a:buFont typeface="Arial" panose="020B0604020202020204" pitchFamily="34" charset="0"/>
              <a:buChar char="—"/>
              <a:defRPr sz="2500" baseline="0"/>
            </a:lvl2pPr>
            <a:lvl3pPr>
              <a:buSzPct val="60000"/>
              <a:buFont typeface="Arial" panose="020B0604020202020204" pitchFamily="34" charset="0"/>
              <a:buChar char="•"/>
              <a:defRPr sz="2500" baseline="0"/>
            </a:lvl3pPr>
            <a:lvl4pPr>
              <a:buSzPct val="60000"/>
              <a:buFont typeface="Wingdings" pitchFamily="2" charset="2"/>
              <a:buChar char="§"/>
              <a:defRPr sz="2800" baseline="0"/>
            </a:lvl4pPr>
            <a:lvl5pPr>
              <a:buSzPct val="60000"/>
              <a:buFont typeface="Wingdings" pitchFamily="2" charset="2"/>
              <a:buChar char="§"/>
              <a:defRPr sz="28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BCC0C8D-95BF-DA46-8962-2211D94EA8F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094954"/>
            <a:ext cx="10882744" cy="547098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500" baseline="0">
                <a:solidFill>
                  <a:srgbClr val="C00000"/>
                </a:solidFill>
              </a:defRPr>
            </a:lvl1pPr>
          </a:lstStyle>
          <a:p>
            <a:pPr lvl="0"/>
            <a:r>
              <a:rPr lang="en-US" dirty="0"/>
              <a:t>Subhead yellow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89DFA2F-AB90-384E-A747-0BF903882E5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2665" y="1049586"/>
            <a:ext cx="11066836" cy="77323"/>
          </a:xfrm>
          <a:prstGeom prst="rect">
            <a:avLst/>
          </a:prstGeom>
        </p:spPr>
      </p:pic>
      <p:pic>
        <p:nvPicPr>
          <p:cNvPr id="8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48E3851A-5645-B8BB-BADB-1DA88223190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1312" y="5949950"/>
            <a:ext cx="1690688" cy="90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1752921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26BDF1-9F48-4FCA-8607-B7DB6C5697CF}" type="datetimeFigureOut">
              <a:rPr lang="en-US" smtClean="0"/>
              <a:t>7/11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12724B-BC91-493C-B5F8-2554118CB2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001766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26BDF1-9F48-4FCA-8607-B7DB6C5697CF}" type="datetimeFigureOut">
              <a:rPr lang="en-US" smtClean="0"/>
              <a:t>7/11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12724B-BC91-493C-B5F8-2554118CB2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802475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26BDF1-9F48-4FCA-8607-B7DB6C5697CF}" type="datetimeFigureOut">
              <a:rPr lang="en-US" smtClean="0"/>
              <a:t>7/11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12724B-BC91-493C-B5F8-2554118CB2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34538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26BDF1-9F48-4FCA-8607-B7DB6C5697CF}" type="datetimeFigureOut">
              <a:rPr lang="en-US" smtClean="0"/>
              <a:t>7/11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12724B-BC91-493C-B5F8-2554118CB2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408696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26BDF1-9F48-4FCA-8607-B7DB6C5697CF}" type="datetimeFigureOut">
              <a:rPr lang="en-US" smtClean="0"/>
              <a:t>7/11/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12724B-BC91-493C-B5F8-2554118CB2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883550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26BDF1-9F48-4FCA-8607-B7DB6C5697CF}" type="datetimeFigureOut">
              <a:rPr lang="en-US" smtClean="0"/>
              <a:t>7/11/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12724B-BC91-493C-B5F8-2554118CB2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313631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26BDF1-9F48-4FCA-8607-B7DB6C5697CF}" type="datetimeFigureOut">
              <a:rPr lang="en-US" smtClean="0"/>
              <a:t>7/11/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12724B-BC91-493C-B5F8-2554118CB2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81504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B6F477A-E39C-46AF-BBA5-3E343653EB42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57200" y="1371600"/>
            <a:ext cx="11430000" cy="4754880"/>
          </a:xfrm>
        </p:spPr>
        <p:txBody>
          <a:bodyPr anchor="t" anchorCtr="1">
            <a:normAutofit/>
          </a:bodyPr>
          <a:lstStyle>
            <a:lvl1pPr marL="0" indent="0">
              <a:buNone/>
              <a:defRPr sz="2000" baseline="0"/>
            </a:lvl1pPr>
          </a:lstStyle>
          <a:p>
            <a:pPr lvl="0"/>
            <a:r>
              <a:rPr lang="en-US"/>
              <a:t>Click to add chart 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F628AA1-34C1-48F7-AB8F-F525ED2C316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12192000" cy="914400"/>
          </a:xfrm>
          <a:solidFill>
            <a:schemeClr val="accent3"/>
          </a:solidFill>
        </p:spPr>
        <p:txBody>
          <a:bodyPr lIns="182880" tIns="91440" rIns="182880" anchor="ctr" anchorCtr="1">
            <a:normAutofit/>
          </a:bodyPr>
          <a:lstStyle>
            <a:lvl1pPr marL="0" indent="0">
              <a:buNone/>
              <a:defRPr sz="3600" b="1" i="0" baseline="0"/>
            </a:lvl1pPr>
          </a:lstStyle>
          <a:p>
            <a:pPr lvl="0"/>
            <a:r>
              <a:rPr lang="fr-CH"/>
              <a:t>Click to </a:t>
            </a:r>
            <a:r>
              <a:rPr lang="fr-CH" err="1"/>
              <a:t>add</a:t>
            </a:r>
            <a:r>
              <a:rPr lang="fr-CH"/>
              <a:t> slide message</a:t>
            </a:r>
            <a:endParaRPr lang="LID4096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ABA1F5F7-F5A2-43EF-B7D5-8588F9779E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9264" y="6406921"/>
            <a:ext cx="1199046" cy="152349"/>
          </a:xfrm>
        </p:spPr>
        <p:txBody>
          <a:bodyPr wrap="none" lIns="0" tIns="0" rIns="0" bIns="0" anchor="t" anchorCtr="0">
            <a:spAutoFit/>
          </a:bodyPr>
          <a:lstStyle>
            <a:lvl1pPr marL="0" indent="0">
              <a:buNone/>
              <a:defRPr sz="1100" baseline="0"/>
            </a:lvl1pPr>
          </a:lstStyle>
          <a:p>
            <a:pPr lvl="0"/>
            <a:r>
              <a:rPr lang="en-US"/>
              <a:t>Click to add sourc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253925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26BDF1-9F48-4FCA-8607-B7DB6C5697CF}" type="datetimeFigureOut">
              <a:rPr lang="en-US" smtClean="0"/>
              <a:t>7/11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12724B-BC91-493C-B5F8-2554118CB2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620146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26BDF1-9F48-4FCA-8607-B7DB6C5697CF}" type="datetimeFigureOut">
              <a:rPr lang="en-US" smtClean="0"/>
              <a:t>7/11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12724B-BC91-493C-B5F8-2554118CB2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016027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26BDF1-9F48-4FCA-8607-B7DB6C5697CF}" type="datetimeFigureOut">
              <a:rPr lang="en-US" smtClean="0"/>
              <a:t>7/11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12724B-BC91-493C-B5F8-2554118CB2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472974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26BDF1-9F48-4FCA-8607-B7DB6C5697CF}" type="datetimeFigureOut">
              <a:rPr lang="en-US" smtClean="0"/>
              <a:t>7/11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12724B-BC91-493C-B5F8-2554118CB2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974571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14BF76-5409-4EED-8A55-ACC0BDE8D5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379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78199F3-8CEB-4B2F-BB52-846C1A60E9F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518"/>
            </a:lvl1pPr>
            <a:lvl2pPr marL="289347" indent="0" algn="ctr">
              <a:buNone/>
              <a:defRPr sz="1265"/>
            </a:lvl2pPr>
            <a:lvl3pPr marL="578694" indent="0" algn="ctr">
              <a:buNone/>
              <a:defRPr sz="1139"/>
            </a:lvl3pPr>
            <a:lvl4pPr marL="868041" indent="0" algn="ctr">
              <a:buNone/>
              <a:defRPr sz="1013"/>
            </a:lvl4pPr>
            <a:lvl5pPr marL="1157387" indent="0" algn="ctr">
              <a:buNone/>
              <a:defRPr sz="1013"/>
            </a:lvl5pPr>
            <a:lvl6pPr marL="1446735" indent="0" algn="ctr">
              <a:buNone/>
              <a:defRPr sz="1013"/>
            </a:lvl6pPr>
            <a:lvl7pPr marL="1736082" indent="0" algn="ctr">
              <a:buNone/>
              <a:defRPr sz="1013"/>
            </a:lvl7pPr>
            <a:lvl8pPr marL="2025429" indent="0" algn="ctr">
              <a:buNone/>
              <a:defRPr sz="1013"/>
            </a:lvl8pPr>
            <a:lvl9pPr marL="2314776" indent="0" algn="ctr">
              <a:buNone/>
              <a:defRPr sz="101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47539A-9389-4156-AE38-9C3EDAD8B8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6A507-6674-4087-9C57-86A734E193FD}" type="datetimeFigureOut">
              <a:rPr lang="en-US" smtClean="0"/>
              <a:t>7/11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519374-9F93-4615-8027-A732983805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6ED479-44D9-4A42-A37D-CBA211FFF3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A450AD-CDA4-4B12-B734-3E81799AF2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399417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C6D3E1-4DA6-4C3E-BD3E-1EE995C2B4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AE0DEE-9B40-49DB-B393-BD7C473709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D363AF-4F42-4CE8-A5B8-2233FB7AFF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6A507-6674-4087-9C57-86A734E193FD}" type="datetimeFigureOut">
              <a:rPr lang="en-US" smtClean="0"/>
              <a:t>7/11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70F537-95D0-4B5A-918A-C16B3F2889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C576F7-3E5D-4340-A9AC-B0CF919463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A450AD-CDA4-4B12-B734-3E81799AF2C9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FE9F8C4D-790E-43A0-BDD6-905979DA349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130969" y="6304027"/>
            <a:ext cx="2177143" cy="63894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marL="0" indent="0" algn="ctr" defTabSz="914400" rtl="0" eaLnBrk="1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defRPr sz="100" b="0" kern="1200">
                <a:solidFill>
                  <a:schemeClr val="bg1"/>
                </a:solidFill>
                <a:latin typeface="+mn-lt"/>
                <a:ea typeface="+mn-ea"/>
                <a:cs typeface="Times New Roman" panose="02020603050405020304" pitchFamily="18" charset="0"/>
              </a:defRPr>
            </a:lvl1pPr>
            <a:lvl2pPr marL="360363" indent="-179388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Calibri" panose="020F050202020403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179388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Calibri" panose="020F050202020403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4738" indent="-180975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Calibri" panose="020F050202020403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8775" indent="-358775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+mj-lt"/>
              <a:buAutoNum type="arabicParenR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prstClr val="black"/>
              </a:buClr>
            </a:pPr>
            <a:r>
              <a:rPr lang="en-GB" sz="100">
                <a:solidFill>
                  <a:prstClr val="white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04377468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0A85C8-EADA-4A65-89C0-133CEEC3C6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40"/>
            <a:ext cx="10515601" cy="2852737"/>
          </a:xfrm>
        </p:spPr>
        <p:txBody>
          <a:bodyPr anchor="b"/>
          <a:lstStyle>
            <a:lvl1pPr>
              <a:defRPr sz="379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693EEC7-BF49-4A69-8004-52394003AC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1" cy="1500187"/>
          </a:xfrm>
        </p:spPr>
        <p:txBody>
          <a:bodyPr/>
          <a:lstStyle>
            <a:lvl1pPr marL="0" indent="0">
              <a:buNone/>
              <a:defRPr sz="1518">
                <a:solidFill>
                  <a:schemeClr val="tx1">
                    <a:tint val="75000"/>
                  </a:schemeClr>
                </a:solidFill>
              </a:defRPr>
            </a:lvl1pPr>
            <a:lvl2pPr marL="289347" indent="0">
              <a:buNone/>
              <a:defRPr sz="1265">
                <a:solidFill>
                  <a:schemeClr val="tx1">
                    <a:tint val="75000"/>
                  </a:schemeClr>
                </a:solidFill>
              </a:defRPr>
            </a:lvl2pPr>
            <a:lvl3pPr marL="578694" indent="0">
              <a:buNone/>
              <a:defRPr sz="1139">
                <a:solidFill>
                  <a:schemeClr val="tx1">
                    <a:tint val="75000"/>
                  </a:schemeClr>
                </a:solidFill>
              </a:defRPr>
            </a:lvl3pPr>
            <a:lvl4pPr marL="868041" indent="0">
              <a:buNone/>
              <a:defRPr sz="1013">
                <a:solidFill>
                  <a:schemeClr val="tx1">
                    <a:tint val="75000"/>
                  </a:schemeClr>
                </a:solidFill>
              </a:defRPr>
            </a:lvl4pPr>
            <a:lvl5pPr marL="1157387" indent="0">
              <a:buNone/>
              <a:defRPr sz="1013">
                <a:solidFill>
                  <a:schemeClr val="tx1">
                    <a:tint val="75000"/>
                  </a:schemeClr>
                </a:solidFill>
              </a:defRPr>
            </a:lvl5pPr>
            <a:lvl6pPr marL="1446735" indent="0">
              <a:buNone/>
              <a:defRPr sz="1013">
                <a:solidFill>
                  <a:schemeClr val="tx1">
                    <a:tint val="75000"/>
                  </a:schemeClr>
                </a:solidFill>
              </a:defRPr>
            </a:lvl6pPr>
            <a:lvl7pPr marL="1736082" indent="0">
              <a:buNone/>
              <a:defRPr sz="1013">
                <a:solidFill>
                  <a:schemeClr val="tx1">
                    <a:tint val="75000"/>
                  </a:schemeClr>
                </a:solidFill>
              </a:defRPr>
            </a:lvl7pPr>
            <a:lvl8pPr marL="2025429" indent="0">
              <a:buNone/>
              <a:defRPr sz="1013">
                <a:solidFill>
                  <a:schemeClr val="tx1">
                    <a:tint val="75000"/>
                  </a:schemeClr>
                </a:solidFill>
              </a:defRPr>
            </a:lvl8pPr>
            <a:lvl9pPr marL="2314776" indent="0">
              <a:buNone/>
              <a:defRPr sz="101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7B2F2A-A516-4E5F-829F-34E3EF18CB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6A507-6674-4087-9C57-86A734E193FD}" type="datetimeFigureOut">
              <a:rPr lang="en-US" smtClean="0"/>
              <a:t>7/11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FB67A4-D15C-4EA5-AAD6-7DD517BE26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46C722-9C26-4086-B682-1230DCD40B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A450AD-CDA4-4B12-B734-3E81799AF2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00610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A0EB89-5199-40BA-BDA0-FF2A55C682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7A27C2-C198-4E79-BDB9-6F4F3DAFD6C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069EC3-D242-4631-BCFE-9AD613FA828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2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E55A961-DFA3-4F4E-96EC-44F8960CB6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6A507-6674-4087-9C57-86A734E193FD}" type="datetimeFigureOut">
              <a:rPr lang="en-US" smtClean="0"/>
              <a:t>7/11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2D9CD18-B977-407B-8CD4-9F622680C1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DF6220-5A55-4987-9885-F685F13E03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A450AD-CDA4-4B12-B734-3E81799AF2C9}" type="slidenum">
              <a:rPr lang="en-US" smtClean="0"/>
              <a:t>‹#›</a:t>
            </a:fld>
            <a:endParaRPr lang="en-US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2AA83653-C3AE-488B-AC79-D1B83051514B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130969" y="6304027"/>
            <a:ext cx="2177143" cy="63894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marL="0" indent="0" algn="ctr" defTabSz="914400" rtl="0" eaLnBrk="1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defRPr sz="100" b="0" kern="1200">
                <a:solidFill>
                  <a:schemeClr val="bg1"/>
                </a:solidFill>
                <a:latin typeface="+mn-lt"/>
                <a:ea typeface="+mn-ea"/>
                <a:cs typeface="Times New Roman" panose="02020603050405020304" pitchFamily="18" charset="0"/>
              </a:defRPr>
            </a:lvl1pPr>
            <a:lvl2pPr marL="360363" indent="-179388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Calibri" panose="020F050202020403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179388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Calibri" panose="020F050202020403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4738" indent="-180975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Calibri" panose="020F050202020403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8775" indent="-358775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+mj-lt"/>
              <a:buAutoNum type="arabicParenR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prstClr val="black"/>
              </a:buClr>
            </a:pPr>
            <a:r>
              <a:rPr lang="en-GB" sz="100">
                <a:solidFill>
                  <a:prstClr val="white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5283586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9A8667-D410-4F33-8664-CD39CAA410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365127"/>
            <a:ext cx="10515601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581422E-3CAA-4880-8DD4-1AC5FE76FE2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91" y="1681163"/>
            <a:ext cx="5157787" cy="823912"/>
          </a:xfrm>
        </p:spPr>
        <p:txBody>
          <a:bodyPr anchor="b"/>
          <a:lstStyle>
            <a:lvl1pPr marL="0" indent="0">
              <a:buNone/>
              <a:defRPr sz="1518" b="1"/>
            </a:lvl1pPr>
            <a:lvl2pPr marL="289347" indent="0">
              <a:buNone/>
              <a:defRPr sz="1265" b="1"/>
            </a:lvl2pPr>
            <a:lvl3pPr marL="578694" indent="0">
              <a:buNone/>
              <a:defRPr sz="1139" b="1"/>
            </a:lvl3pPr>
            <a:lvl4pPr marL="868041" indent="0">
              <a:buNone/>
              <a:defRPr sz="1013" b="1"/>
            </a:lvl4pPr>
            <a:lvl5pPr marL="1157387" indent="0">
              <a:buNone/>
              <a:defRPr sz="1013" b="1"/>
            </a:lvl5pPr>
            <a:lvl6pPr marL="1446735" indent="0">
              <a:buNone/>
              <a:defRPr sz="1013" b="1"/>
            </a:lvl6pPr>
            <a:lvl7pPr marL="1736082" indent="0">
              <a:buNone/>
              <a:defRPr sz="1013" b="1"/>
            </a:lvl7pPr>
            <a:lvl8pPr marL="2025429" indent="0">
              <a:buNone/>
              <a:defRPr sz="1013" b="1"/>
            </a:lvl8pPr>
            <a:lvl9pPr marL="2314776" indent="0">
              <a:buNone/>
              <a:defRPr sz="1013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CB6F780-650E-4FBE-90E8-4F82D04CF82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91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843F62-578F-4FC8-9406-98B8E60310A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1518" b="1"/>
            </a:lvl1pPr>
            <a:lvl2pPr marL="289347" indent="0">
              <a:buNone/>
              <a:defRPr sz="1265" b="1"/>
            </a:lvl2pPr>
            <a:lvl3pPr marL="578694" indent="0">
              <a:buNone/>
              <a:defRPr sz="1139" b="1"/>
            </a:lvl3pPr>
            <a:lvl4pPr marL="868041" indent="0">
              <a:buNone/>
              <a:defRPr sz="1013" b="1"/>
            </a:lvl4pPr>
            <a:lvl5pPr marL="1157387" indent="0">
              <a:buNone/>
              <a:defRPr sz="1013" b="1"/>
            </a:lvl5pPr>
            <a:lvl6pPr marL="1446735" indent="0">
              <a:buNone/>
              <a:defRPr sz="1013" b="1"/>
            </a:lvl6pPr>
            <a:lvl7pPr marL="1736082" indent="0">
              <a:buNone/>
              <a:defRPr sz="1013" b="1"/>
            </a:lvl7pPr>
            <a:lvl8pPr marL="2025429" indent="0">
              <a:buNone/>
              <a:defRPr sz="1013" b="1"/>
            </a:lvl8pPr>
            <a:lvl9pPr marL="2314776" indent="0">
              <a:buNone/>
              <a:defRPr sz="1013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44EC7D6-A52B-4F1E-9602-E8FBD726999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561DE28-4A95-4730-8B94-828A4E04F6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6A507-6674-4087-9C57-86A734E193FD}" type="datetimeFigureOut">
              <a:rPr lang="en-US" smtClean="0"/>
              <a:t>7/11/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C7DAA9D-305B-46F0-A94F-3286B2ABB5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93C1AD0-6FEB-4B23-BD6B-AF3E46D07D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A450AD-CDA4-4B12-B734-3E81799AF2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222392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AF8C57-0B2E-46E2-9ADC-F568AD8943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2ACC9ED-90EE-4252-95FE-1A63C99D31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6A507-6674-4087-9C57-86A734E193FD}" type="datetimeFigureOut">
              <a:rPr lang="en-US" smtClean="0"/>
              <a:t>7/11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7823DB2-B258-4372-B8A5-E71C547E6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3E92ACB-6B26-4238-B789-D474E9E2ED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A450AD-CDA4-4B12-B734-3E81799AF2C9}" type="slidenum">
              <a:rPr lang="en-US" smtClean="0"/>
              <a:t>‹#›</a:t>
            </a:fld>
            <a:endParaRPr lang="en-US"/>
          </a:p>
        </p:txBody>
      </p:sp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B7CB3FD0-2271-4B0A-A809-C639AABD703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130969" y="6304027"/>
            <a:ext cx="2177143" cy="63894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marL="0" indent="0" algn="ctr" defTabSz="914400" rtl="0" eaLnBrk="1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defRPr sz="100" b="0" kern="1200">
                <a:solidFill>
                  <a:schemeClr val="bg1"/>
                </a:solidFill>
                <a:latin typeface="+mn-lt"/>
                <a:ea typeface="+mn-ea"/>
                <a:cs typeface="Times New Roman" panose="02020603050405020304" pitchFamily="18" charset="0"/>
              </a:defRPr>
            </a:lvl1pPr>
            <a:lvl2pPr marL="360363" indent="-179388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Calibri" panose="020F050202020403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179388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Calibri" panose="020F050202020403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4738" indent="-180975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Calibri" panose="020F050202020403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8775" indent="-358775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+mj-lt"/>
              <a:buAutoNum type="arabicParenR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prstClr val="black"/>
              </a:buClr>
            </a:pPr>
            <a:r>
              <a:rPr lang="en-GB" sz="100">
                <a:solidFill>
                  <a:prstClr val="white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906063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18" Type="http://schemas.openxmlformats.org/officeDocument/2006/relationships/slideLayout" Target="../slideLayouts/slideLayout62.xml"/><Relationship Id="rId3" Type="http://schemas.openxmlformats.org/officeDocument/2006/relationships/slideLayout" Target="../slideLayouts/slideLayout47.xml"/><Relationship Id="rId21" Type="http://schemas.openxmlformats.org/officeDocument/2006/relationships/image" Target="../media/image5.png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slideLayout" Target="../slideLayouts/slideLayout61.xml"/><Relationship Id="rId2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60.xml"/><Relationship Id="rId20" Type="http://schemas.openxmlformats.org/officeDocument/2006/relationships/theme" Target="../theme/theme10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54.xml"/><Relationship Id="rId19" Type="http://schemas.openxmlformats.org/officeDocument/2006/relationships/slideLayout" Target="../slideLayouts/slideLayout63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1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/Relationships>
</file>

<file path=ppt/slideMasters/_rels/slideMaster12.xml.rels><?xml version="1.0" encoding="UTF-8" standalone="yes"?>
<Relationships xmlns="http://schemas.openxmlformats.org/package/2006/relationships"><Relationship Id="rId2" Type="http://schemas.openxmlformats.org/officeDocument/2006/relationships/theme" Target="../theme/theme12.xml"/><Relationship Id="rId1" Type="http://schemas.openxmlformats.org/officeDocument/2006/relationships/slideLayout" Target="../slideLayouts/slideLayout66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slideLayout" Target="../slideLayouts/slideLayout79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78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68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5" Type="http://schemas.openxmlformats.org/officeDocument/2006/relationships/theme" Target="../theme/theme13.xml"/><Relationship Id="rId10" Type="http://schemas.openxmlformats.org/officeDocument/2006/relationships/slideLayout" Target="../slideLayouts/slideLayout76.xml"/><Relationship Id="rId19" Type="http://schemas.openxmlformats.org/officeDocument/2006/relationships/image" Target="../media/image8.emf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slideLayout" Target="../slideLayouts/slideLayout80.xml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theme" Target="../theme/theme14.x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5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92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.xml"/><Relationship Id="rId13" Type="http://schemas.openxmlformats.org/officeDocument/2006/relationships/slideLayout" Target="../slideLayouts/slideLayout106.xml"/><Relationship Id="rId3" Type="http://schemas.openxmlformats.org/officeDocument/2006/relationships/slideLayout" Target="../slideLayouts/slideLayout96.xml"/><Relationship Id="rId7" Type="http://schemas.openxmlformats.org/officeDocument/2006/relationships/slideLayout" Target="../slideLayouts/slideLayout100.xml"/><Relationship Id="rId12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98.xml"/><Relationship Id="rId10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Relationship Id="rId14" Type="http://schemas.openxmlformats.org/officeDocument/2006/relationships/theme" Target="../theme/theme16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5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6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1.png"/><Relationship Id="rId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image" Target="../media/image3.w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image" Target="../media/image3.wmf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3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4.jpeg"/><Relationship Id="rId5" Type="http://schemas.openxmlformats.org/officeDocument/2006/relationships/theme" Target="../theme/theme9.xml"/><Relationship Id="rId4" Type="http://schemas.openxmlformats.org/officeDocument/2006/relationships/slideLayout" Target="../slideLayouts/slideLayout4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3AFAA94-0D1B-40E4-932D-2E51480690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9144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LID4096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FF6C4D2-E8E8-4B3F-BD41-D2D75607BF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371600"/>
            <a:ext cx="11430000" cy="4389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16875884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 baseline="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LID4096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79999" y="367619"/>
            <a:ext cx="8160000" cy="720000"/>
          </a:xfrm>
          <a:prstGeom prst="rect">
            <a:avLst/>
          </a:prstGeom>
        </p:spPr>
        <p:txBody>
          <a:bodyPr vert="horz" lIns="18000" tIns="0" rIns="360000" bIns="0" rtlCol="0" anchor="b">
            <a:noAutofit/>
          </a:bodyPr>
          <a:lstStyle/>
          <a:p>
            <a:r>
              <a:rPr lang="en-GB" noProof="0"/>
              <a:t>Click to edit </a:t>
            </a:r>
            <a:br>
              <a:rPr lang="en-GB" noProof="0"/>
            </a:br>
            <a:r>
              <a:rPr lang="en-GB" noProof="0"/>
              <a:t>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80002" y="1807620"/>
            <a:ext cx="11232001" cy="4237200"/>
          </a:xfrm>
          <a:prstGeom prst="rect">
            <a:avLst/>
          </a:prstGeom>
        </p:spPr>
        <p:txBody>
          <a:bodyPr vert="horz" lIns="18000" tIns="0" rIns="18000" bIns="0" rtlCol="0">
            <a:noAutofit/>
          </a:bodyPr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480001" y="6588208"/>
            <a:ext cx="790001" cy="180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67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fld id="{0087168E-D4AA-4E26-BAB4-555C1D81D0C3}" type="datetime1">
              <a:rPr lang="en-GB" smtClean="0">
                <a:solidFill>
                  <a:prstClr val="black"/>
                </a:solidFill>
              </a:rPr>
              <a:pPr/>
              <a:t>11/07/2024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392992" y="6588208"/>
            <a:ext cx="2264608" cy="180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67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GB" dirty="0">
                <a:solidFill>
                  <a:prstClr val="black"/>
                </a:solidFill>
              </a:rPr>
              <a:t>| Title of the pre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416433" y="6588208"/>
            <a:ext cx="289931" cy="180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67" b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fld id="{A74CE0EA-F3B5-4684-BA10-C594598FDB9C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9071164" y="379579"/>
            <a:ext cx="2635200" cy="694800"/>
          </a:xfrm>
          <a:prstGeom prst="rect">
            <a:avLst/>
          </a:prstGeom>
          <a:blipFill dpi="0" rotWithShape="1">
            <a:blip r:embed="rId2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57810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4" r:id="rId1"/>
    <p:sldLayoutId id="2147484025" r:id="rId2"/>
    <p:sldLayoutId id="2147484026" r:id="rId3"/>
    <p:sldLayoutId id="2147484027" r:id="rId4"/>
    <p:sldLayoutId id="2147484028" r:id="rId5"/>
    <p:sldLayoutId id="2147484029" r:id="rId6"/>
    <p:sldLayoutId id="2147484030" r:id="rId7"/>
    <p:sldLayoutId id="2147484031" r:id="rId8"/>
    <p:sldLayoutId id="2147484032" r:id="rId9"/>
    <p:sldLayoutId id="2147484033" r:id="rId10"/>
    <p:sldLayoutId id="2147484034" r:id="rId11"/>
    <p:sldLayoutId id="2147484035" r:id="rId12"/>
    <p:sldLayoutId id="2147484036" r:id="rId13"/>
    <p:sldLayoutId id="2147484037" r:id="rId14"/>
    <p:sldLayoutId id="2147484038" r:id="rId15"/>
    <p:sldLayoutId id="2147484039" r:id="rId16"/>
    <p:sldLayoutId id="2147484040" r:id="rId17"/>
    <p:sldLayoutId id="2147484041" r:id="rId18"/>
    <p:sldLayoutId id="2147484042" r:id="rId19"/>
  </p:sldLayoutIdLst>
  <p:hf hdr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3733" b="1" kern="1200">
          <a:solidFill>
            <a:srgbClr val="0092CC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10000"/>
        </a:lnSpc>
        <a:spcBef>
          <a:spcPts val="1333"/>
        </a:spcBef>
        <a:spcAft>
          <a:spcPts val="800"/>
        </a:spcAft>
        <a:buClr>
          <a:schemeClr val="tx1"/>
        </a:buClr>
        <a:buSzPct val="80000"/>
        <a:buFontTx/>
        <a:buNone/>
        <a:defRPr sz="1867" b="0" kern="1200">
          <a:solidFill>
            <a:schemeClr val="tx1"/>
          </a:solidFill>
          <a:latin typeface="+mn-lt"/>
          <a:ea typeface="+mn-ea"/>
          <a:cs typeface="Times New Roman" panose="02020603050405020304" pitchFamily="18" charset="0"/>
        </a:defRPr>
      </a:lvl1pPr>
      <a:lvl2pPr marL="480472" indent="-239178" algn="l" defTabSz="1219170" rtl="0" eaLnBrk="1" latinLnBrk="0" hangingPunct="1">
        <a:lnSpc>
          <a:spcPct val="110000"/>
        </a:lnSpc>
        <a:spcBef>
          <a:spcPts val="667"/>
        </a:spcBef>
        <a:spcAft>
          <a:spcPts val="8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1102755" indent="-380990" algn="l" defTabSz="1219170" rtl="0" eaLnBrk="1" latinLnBrk="0" hangingPunct="1">
        <a:lnSpc>
          <a:spcPct val="110000"/>
        </a:lnSpc>
        <a:spcBef>
          <a:spcPts val="667"/>
        </a:spcBef>
        <a:spcAft>
          <a:spcPts val="8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572645" indent="-380990" algn="l" defTabSz="1219170" rtl="0" eaLnBrk="1" latinLnBrk="0" hangingPunct="1">
        <a:lnSpc>
          <a:spcPct val="110000"/>
        </a:lnSpc>
        <a:spcBef>
          <a:spcPts val="667"/>
        </a:spcBef>
        <a:spcAft>
          <a:spcPts val="8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2154713" indent="-478355" algn="l" defTabSz="1219170" rtl="0" eaLnBrk="1" latinLnBrk="0" hangingPunct="1">
        <a:lnSpc>
          <a:spcPct val="110000"/>
        </a:lnSpc>
        <a:spcBef>
          <a:spcPts val="667"/>
        </a:spcBef>
        <a:spcAft>
          <a:spcPts val="8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749482" indent="-478355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39">
          <p15:clr>
            <a:srgbClr val="F26B43"/>
          </p15:clr>
        </p15:guide>
        <p15:guide id="2" orient="horz" pos="3809">
          <p15:clr>
            <a:srgbClr val="F26B43"/>
          </p15:clr>
        </p15:guide>
        <p15:guide id="3" pos="2880">
          <p15:clr>
            <a:srgbClr val="F26B43"/>
          </p15:clr>
        </p15:guide>
        <p15:guide id="4" pos="226">
          <p15:clr>
            <a:srgbClr val="F26B43"/>
          </p15:clr>
        </p15:guide>
        <p15:guide id="5" pos="5534">
          <p15:clr>
            <a:srgbClr val="F26B43"/>
          </p15:clr>
        </p15:guide>
        <p15:guide id="6" pos="2939">
          <p15:clr>
            <a:srgbClr val="F26B43"/>
          </p15:clr>
        </p15:guide>
        <p15:guide id="7" pos="2821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1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D37F3DAD-DC49-CF40-89A5-C2A3CCEE7B62}"/>
              </a:ext>
            </a:extLst>
          </p:cNvPr>
          <p:cNvSpPr/>
          <p:nvPr userDrawn="1"/>
        </p:nvSpPr>
        <p:spPr>
          <a:xfrm>
            <a:off x="11120647" y="381000"/>
            <a:ext cx="310742" cy="310662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4AFA0A0-434E-E340-A675-5E45B45DDFED}"/>
              </a:ext>
            </a:extLst>
          </p:cNvPr>
          <p:cNvSpPr txBox="1"/>
          <p:nvPr userDrawn="1"/>
        </p:nvSpPr>
        <p:spPr>
          <a:xfrm>
            <a:off x="11172624" y="451692"/>
            <a:ext cx="206788" cy="1692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C2130A1F-96FE-9345-9E91-FD9BE4197128}" type="slidenum">
              <a:rPr lang="en-US" sz="1100" b="0" i="0" spc="0" smtClean="0">
                <a:solidFill>
                  <a:schemeClr val="bg1"/>
                </a:solidFill>
                <a:latin typeface="Poppins Medium" pitchFamily="2" charset="77"/>
                <a:cs typeface="Poppins Medium" pitchFamily="2" charset="77"/>
              </a:rPr>
              <a:pPr algn="ctr"/>
              <a:t>‹#›</a:t>
            </a:fld>
            <a:endParaRPr lang="en-US" sz="1100" b="0" i="0" spc="0" dirty="0">
              <a:solidFill>
                <a:schemeClr val="bg1"/>
              </a:solidFill>
              <a:latin typeface="Poppins Medium" pitchFamily="2" charset="77"/>
              <a:cs typeface="Poppins Medium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6958307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4" r:id="rId1"/>
    <p:sldLayoutId id="2147484045" r:id="rId2"/>
  </p:sldLayoutIdLst>
  <p:hf hdr="0" ftr="0" dt="0"/>
  <p:txStyles>
    <p:titleStyle>
      <a:lvl1pPr algn="l" defTabSz="914172" rtl="0" eaLnBrk="1" latinLnBrk="0" hangingPunct="1">
        <a:lnSpc>
          <a:spcPct val="90000"/>
        </a:lnSpc>
        <a:spcBef>
          <a:spcPct val="0"/>
        </a:spcBef>
        <a:buNone/>
        <a:defRPr sz="4399" b="1" i="0" kern="1200">
          <a:solidFill>
            <a:schemeClr val="tx2"/>
          </a:solidFill>
          <a:latin typeface="Poppins" pitchFamily="2" charset="77"/>
          <a:ea typeface="+mj-ea"/>
          <a:cs typeface="+mj-cs"/>
        </a:defRPr>
      </a:lvl1pPr>
    </p:titleStyle>
    <p:bodyStyle>
      <a:lvl1pPr marL="0" indent="0" algn="l" defTabSz="91417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800" b="0" i="0" kern="1200">
          <a:solidFill>
            <a:schemeClr val="tx1"/>
          </a:solidFill>
          <a:latin typeface="Lato Light" panose="020F0502020204030203" pitchFamily="34" charset="0"/>
          <a:ea typeface="+mn-ea"/>
          <a:cs typeface="+mn-cs"/>
        </a:defRPr>
      </a:lvl1pPr>
      <a:lvl2pPr marL="457086" indent="0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400" b="0" i="0" kern="1200">
          <a:solidFill>
            <a:schemeClr val="tx1"/>
          </a:solidFill>
          <a:latin typeface="Lato Light" panose="020F0502020204030203" pitchFamily="34" charset="0"/>
          <a:ea typeface="+mn-ea"/>
          <a:cs typeface="+mn-cs"/>
        </a:defRPr>
      </a:lvl2pPr>
      <a:lvl3pPr marL="914172" indent="0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000" b="0" i="0" kern="1200">
          <a:solidFill>
            <a:schemeClr val="tx1"/>
          </a:solidFill>
          <a:latin typeface="Lato Light" panose="020F0502020204030203" pitchFamily="34" charset="0"/>
          <a:ea typeface="+mn-ea"/>
          <a:cs typeface="+mn-cs"/>
        </a:defRPr>
      </a:lvl3pPr>
      <a:lvl4pPr marL="1371257" indent="0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Lato Light" panose="020F0502020204030203" pitchFamily="34" charset="0"/>
          <a:ea typeface="+mn-ea"/>
          <a:cs typeface="+mn-cs"/>
        </a:defRPr>
      </a:lvl4pPr>
      <a:lvl5pPr marL="1828343" indent="0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Lato Light" panose="020F0502020204030203" pitchFamily="34" charset="0"/>
          <a:ea typeface="+mn-ea"/>
          <a:cs typeface="+mn-cs"/>
        </a:defRPr>
      </a:lvl5pPr>
      <a:lvl6pPr marL="2513972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57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43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9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6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2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7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3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9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4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6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1" y="365129"/>
            <a:ext cx="10515600" cy="1325563"/>
          </a:xfrm>
          <a:prstGeom prst="rect">
            <a:avLst/>
          </a:prstGeom>
        </p:spPr>
        <p:txBody>
          <a:bodyPr vert="horz" lIns="182843" tIns="91422" rIns="182843" bIns="91422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182843" tIns="91422" rIns="182843" bIns="91422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108571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7" r:id="rId1"/>
  </p:sldLayoutIdLst>
  <p:hf hdr="0" ftr="0" dt="0"/>
  <p:txStyles>
    <p:titleStyle>
      <a:lvl1pPr algn="ctr" defTabSz="914217" rtl="0" eaLnBrk="1" latinLnBrk="0" hangingPunct="1">
        <a:lnSpc>
          <a:spcPct val="90000"/>
        </a:lnSpc>
        <a:spcBef>
          <a:spcPct val="0"/>
        </a:spcBef>
        <a:buNone/>
        <a:defRPr lang="en-US" sz="3700" b="1" i="0" kern="1200" spc="-145" baseline="0">
          <a:solidFill>
            <a:schemeClr val="tx2"/>
          </a:solidFill>
          <a:latin typeface="Poppins" pitchFamily="2" charset="77"/>
          <a:ea typeface="Open Sans Light" panose="020B0306030504020204" pitchFamily="34" charset="0"/>
          <a:cs typeface="Poppins" pitchFamily="2" charset="77"/>
        </a:defRPr>
      </a:lvl1pPr>
    </p:titleStyle>
    <p:bodyStyle>
      <a:lvl1pPr marL="228555" indent="-228555" algn="l" defTabSz="91421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lang="en-US" sz="2000" b="0" i="0" kern="1200" spc="-15" baseline="0" dirty="0" smtClean="0">
          <a:solidFill>
            <a:schemeClr val="tx1"/>
          </a:solidFill>
          <a:effectLst/>
          <a:latin typeface="Poppins" pitchFamily="2" charset="77"/>
          <a:ea typeface="Open Sans Light" panose="020B0306030504020204" pitchFamily="34" charset="0"/>
          <a:cs typeface="Poppins" pitchFamily="2" charset="77"/>
        </a:defRPr>
      </a:lvl1pPr>
      <a:lvl2pPr marL="685663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600" b="0" i="0" kern="1200" spc="-15" baseline="0" dirty="0" smtClean="0">
          <a:solidFill>
            <a:schemeClr val="tx1"/>
          </a:solidFill>
          <a:effectLst/>
          <a:latin typeface="Poppins" pitchFamily="2" charset="77"/>
          <a:ea typeface="Open Sans Light" panose="020B0306030504020204" pitchFamily="34" charset="0"/>
          <a:cs typeface="Poppins" pitchFamily="2" charset="77"/>
        </a:defRPr>
      </a:lvl2pPr>
      <a:lvl3pPr marL="1142772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400" b="0" i="0" kern="1200" spc="-15" baseline="0" dirty="0" smtClean="0">
          <a:solidFill>
            <a:schemeClr val="tx1"/>
          </a:solidFill>
          <a:effectLst/>
          <a:latin typeface="Poppins" pitchFamily="2" charset="77"/>
          <a:ea typeface="Open Sans Light" panose="020B0306030504020204" pitchFamily="34" charset="0"/>
          <a:cs typeface="Poppins" pitchFamily="2" charset="77"/>
        </a:defRPr>
      </a:lvl3pPr>
      <a:lvl4pPr marL="1599880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200" b="0" i="0" kern="1200" spc="-15" baseline="0" dirty="0" smtClean="0">
          <a:solidFill>
            <a:schemeClr val="tx1"/>
          </a:solidFill>
          <a:effectLst/>
          <a:latin typeface="Poppins" pitchFamily="2" charset="77"/>
          <a:ea typeface="Open Sans Light" panose="020B0306030504020204" pitchFamily="34" charset="0"/>
          <a:cs typeface="Poppins" pitchFamily="2" charset="77"/>
        </a:defRPr>
      </a:lvl4pPr>
      <a:lvl5pPr marL="2056989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200" b="0" i="0" kern="1200" spc="-15" baseline="0" dirty="0">
          <a:solidFill>
            <a:schemeClr val="tx1"/>
          </a:solidFill>
          <a:effectLst/>
          <a:latin typeface="Poppins" pitchFamily="2" charset="77"/>
          <a:ea typeface="Open Sans Light" panose="020B0306030504020204" pitchFamily="34" charset="0"/>
          <a:cs typeface="Poppins" pitchFamily="2" charset="77"/>
        </a:defRPr>
      </a:lvl5pPr>
      <a:lvl6pPr marL="2514097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06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14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23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2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678">
          <p15:clr>
            <a:srgbClr val="A4A3A4"/>
          </p15:clr>
        </p15:guide>
        <p15:guide id="4" orient="horz" pos="4320">
          <p15:clr>
            <a:srgbClr val="A4A3A4"/>
          </p15:clr>
        </p15:guide>
        <p15:guide id="5" pos="14398">
          <p15:clr>
            <a:srgbClr val="A4A3A4"/>
          </p15:clr>
        </p15:guide>
        <p15:guide id="6" pos="958">
          <p15:clr>
            <a:srgbClr val="A4A3A4"/>
          </p15:clr>
        </p15:guide>
        <p15:guide id="7" orient="horz" pos="480">
          <p15:clr>
            <a:srgbClr val="A4A3A4"/>
          </p15:clr>
        </p15:guide>
        <p15:guide id="8" orient="horz" pos="8160">
          <p15:clr>
            <a:srgbClr val="A4A3A4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56B9A22-AF09-414E-9E26-1E1F5C7C55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971562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95" imgH="396" progId="TCLayout.ActiveDocument.1">
                  <p:embed/>
                </p:oleObj>
              </mc:Choice>
              <mc:Fallback>
                <p:oleObj name="think-cell Slide" r:id="rId18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56B9A22-AF09-414E-9E26-1E1F5C7C55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A6196BD-EA81-4140-8073-9B13AB2A6497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B27024B-CBE5-4648-B1AC-B66F9B9BF2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1861B95-58DC-4107-A038-20A02AE9E8A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70B86E-9B44-42A1-BBBF-F8500658851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9C6C86-516E-43E0-8C01-723A2A5FFE6F}" type="datetimeFigureOut">
              <a:rPr lang="en-US" smtClean="0"/>
              <a:t>7/11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6D62CB-52D4-4778-BA10-6D12F2CDCC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5DC729-0F0D-42D3-A200-E3AAB88AAD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C9BFC0-558B-4D1F-B2B3-12E1D5C9E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9355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9" r:id="rId1"/>
    <p:sldLayoutId id="2147484050" r:id="rId2"/>
    <p:sldLayoutId id="2147484051" r:id="rId3"/>
    <p:sldLayoutId id="2147484052" r:id="rId4"/>
    <p:sldLayoutId id="2147484053" r:id="rId5"/>
    <p:sldLayoutId id="2147484054" r:id="rId6"/>
    <p:sldLayoutId id="2147484055" r:id="rId7"/>
    <p:sldLayoutId id="2147484056" r:id="rId8"/>
    <p:sldLayoutId id="2147484057" r:id="rId9"/>
    <p:sldLayoutId id="2147484058" r:id="rId10"/>
    <p:sldLayoutId id="2147484059" r:id="rId11"/>
    <p:sldLayoutId id="2147484060" r:id="rId12"/>
    <p:sldLayoutId id="2147484061" r:id="rId13"/>
    <p:sldLayoutId id="2147484063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1" y="365129"/>
            <a:ext cx="10515600" cy="1325563"/>
          </a:xfrm>
          <a:prstGeom prst="rect">
            <a:avLst/>
          </a:prstGeom>
        </p:spPr>
        <p:txBody>
          <a:bodyPr vert="horz" lIns="182843" tIns="91422" rIns="182843" bIns="91422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182843" tIns="91422" rIns="182843" bIns="91422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3A87DDA4-93F2-7A45-9BB3-0ED68A4AA170}"/>
              </a:ext>
            </a:extLst>
          </p:cNvPr>
          <p:cNvSpPr/>
          <p:nvPr userDrawn="1"/>
        </p:nvSpPr>
        <p:spPr>
          <a:xfrm>
            <a:off x="11154250" y="381000"/>
            <a:ext cx="277139" cy="277067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0" i="0" dirty="0">
              <a:latin typeface="Poppins Light" pitchFamily="2" charset="77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AC132A2-AB80-A845-8566-11C55587F84F}"/>
              </a:ext>
            </a:extLst>
          </p:cNvPr>
          <p:cNvSpPr txBox="1"/>
          <p:nvPr userDrawn="1"/>
        </p:nvSpPr>
        <p:spPr>
          <a:xfrm>
            <a:off x="11217478" y="442590"/>
            <a:ext cx="150683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C2130A1F-96FE-9345-9E91-FD9BE4197128}" type="slidenum">
              <a:rPr lang="en-US" sz="1000" b="0" i="0" spc="0" smtClean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pPr algn="ctr"/>
              <a:t>‹#›</a:t>
            </a:fld>
            <a:endParaRPr lang="en-US" sz="1400" b="0" i="0" spc="0" dirty="0">
              <a:solidFill>
                <a:schemeClr val="bg1"/>
              </a:solidFill>
              <a:latin typeface="Poppins" pitchFamily="2" charset="77"/>
              <a:cs typeface="Poppins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392764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0" r:id="rId1"/>
    <p:sldLayoutId id="2147484071" r:id="rId2"/>
  </p:sldLayoutIdLst>
  <p:hf hdr="0" ftr="0" dt="0"/>
  <p:txStyles>
    <p:titleStyle>
      <a:lvl1pPr algn="l" defTabSz="914217" rtl="0" eaLnBrk="1" latinLnBrk="0" hangingPunct="1">
        <a:lnSpc>
          <a:spcPct val="90000"/>
        </a:lnSpc>
        <a:spcBef>
          <a:spcPct val="0"/>
        </a:spcBef>
        <a:buNone/>
        <a:defRPr lang="en-US" sz="3000" b="1" i="0" kern="1200">
          <a:solidFill>
            <a:schemeClr val="tx2"/>
          </a:solidFill>
          <a:latin typeface="Poppins" pitchFamily="2" charset="77"/>
          <a:ea typeface="Open Sans Light" panose="020B0306030504020204" pitchFamily="34" charset="0"/>
          <a:cs typeface="Poppins" pitchFamily="2" charset="77"/>
        </a:defRPr>
      </a:lvl1pPr>
    </p:titleStyle>
    <p:bodyStyle>
      <a:lvl1pPr marL="228555" indent="-228555" algn="l" defTabSz="91421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lang="en-US" sz="2400" b="0" i="0" kern="1200" dirty="0" smtClean="0">
          <a:solidFill>
            <a:schemeClr val="tx1"/>
          </a:solidFill>
          <a:effectLst/>
          <a:latin typeface="Poppins Light" pitchFamily="2" charset="77"/>
          <a:ea typeface="Open Sans Light" panose="020B0306030504020204" pitchFamily="34" charset="0"/>
          <a:cs typeface="Open Sans" charset="0"/>
        </a:defRPr>
      </a:lvl1pPr>
      <a:lvl2pPr marL="685663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2000" b="0" i="0" kern="1200" dirty="0" smtClean="0">
          <a:solidFill>
            <a:schemeClr val="tx1"/>
          </a:solidFill>
          <a:effectLst/>
          <a:latin typeface="Poppins Light" pitchFamily="2" charset="77"/>
          <a:ea typeface="Open Sans Light" panose="020B0306030504020204" pitchFamily="34" charset="0"/>
          <a:cs typeface="Open Sans" charset="0"/>
        </a:defRPr>
      </a:lvl2pPr>
      <a:lvl3pPr marL="1142772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800" b="0" i="0" kern="1200" dirty="0" smtClean="0">
          <a:solidFill>
            <a:schemeClr val="tx1"/>
          </a:solidFill>
          <a:effectLst/>
          <a:latin typeface="Poppins Light" pitchFamily="2" charset="77"/>
          <a:ea typeface="Open Sans Light" panose="020B0306030504020204" pitchFamily="34" charset="0"/>
          <a:cs typeface="Open Sans" charset="0"/>
        </a:defRPr>
      </a:lvl3pPr>
      <a:lvl4pPr marL="1599880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600" b="0" i="0" kern="1200" dirty="0" smtClean="0">
          <a:solidFill>
            <a:schemeClr val="tx1"/>
          </a:solidFill>
          <a:effectLst/>
          <a:latin typeface="Poppins Light" pitchFamily="2" charset="77"/>
          <a:ea typeface="Open Sans Light" panose="020B0306030504020204" pitchFamily="34" charset="0"/>
          <a:cs typeface="Open Sans" charset="0"/>
        </a:defRPr>
      </a:lvl4pPr>
      <a:lvl5pPr marL="2056989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600" b="0" i="0" kern="1200" dirty="0">
          <a:solidFill>
            <a:schemeClr val="tx1"/>
          </a:solidFill>
          <a:effectLst/>
          <a:latin typeface="Poppins Light" pitchFamily="2" charset="77"/>
          <a:ea typeface="Open Sans Light" panose="020B0306030504020204" pitchFamily="34" charset="0"/>
          <a:cs typeface="Open Sans" charset="0"/>
        </a:defRPr>
      </a:lvl5pPr>
      <a:lvl6pPr marL="2514097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06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14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23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2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26BDF1-9F48-4FCA-8607-B7DB6C5697CF}" type="datetimeFigureOut">
              <a:rPr lang="en-US" smtClean="0"/>
              <a:t>7/11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12724B-BC91-493C-B5F8-2554118CB2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2953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3" r:id="rId1"/>
    <p:sldLayoutId id="2147484074" r:id="rId2"/>
    <p:sldLayoutId id="2147484075" r:id="rId3"/>
    <p:sldLayoutId id="2147484076" r:id="rId4"/>
    <p:sldLayoutId id="2147484077" r:id="rId5"/>
    <p:sldLayoutId id="2147484078" r:id="rId6"/>
    <p:sldLayoutId id="2147484079" r:id="rId7"/>
    <p:sldLayoutId id="2147484080" r:id="rId8"/>
    <p:sldLayoutId id="2147484081" r:id="rId9"/>
    <p:sldLayoutId id="2147484082" r:id="rId10"/>
    <p:sldLayoutId id="21474840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EDF219D-3353-424E-AE8D-9FA2F5D7E3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365127"/>
            <a:ext cx="10515601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C98923-8047-4CBF-AFA4-3A7BC25DB46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1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CD93401-6507-4EAB-AC56-D3ED527592F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66A507-6674-4087-9C57-86A734E193FD}" type="datetimeFigureOut">
              <a:rPr lang="en-US" smtClean="0"/>
              <a:t>7/11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00AED2-40B7-4491-A9BC-9D967E9724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2" y="6356352"/>
            <a:ext cx="4114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6503FF-C72A-4342-908A-3BE0180F1D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2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A450AD-CDA4-4B12-B734-3E81799AF2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03190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5" r:id="rId1"/>
    <p:sldLayoutId id="2147484086" r:id="rId2"/>
    <p:sldLayoutId id="2147484087" r:id="rId3"/>
    <p:sldLayoutId id="2147484088" r:id="rId4"/>
    <p:sldLayoutId id="2147484089" r:id="rId5"/>
    <p:sldLayoutId id="2147484090" r:id="rId6"/>
    <p:sldLayoutId id="2147484091" r:id="rId7"/>
    <p:sldLayoutId id="2147484092" r:id="rId8"/>
    <p:sldLayoutId id="2147484093" r:id="rId9"/>
    <p:sldLayoutId id="2147484094" r:id="rId10"/>
    <p:sldLayoutId id="2147484095" r:id="rId11"/>
    <p:sldLayoutId id="2147484096" r:id="rId12"/>
    <p:sldLayoutId id="2147484097" r:id="rId13"/>
  </p:sldLayoutIdLst>
  <p:txStyles>
    <p:titleStyle>
      <a:lvl1pPr algn="l" defTabSz="578694" rtl="0" eaLnBrk="1" latinLnBrk="0" hangingPunct="1">
        <a:lnSpc>
          <a:spcPct val="90000"/>
        </a:lnSpc>
        <a:spcBef>
          <a:spcPct val="0"/>
        </a:spcBef>
        <a:buNone/>
        <a:defRPr sz="278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44674" indent="-144674" algn="l" defTabSz="578694" rtl="0" eaLnBrk="1" latinLnBrk="0" hangingPunct="1">
        <a:lnSpc>
          <a:spcPct val="90000"/>
        </a:lnSpc>
        <a:spcBef>
          <a:spcPts val="632"/>
        </a:spcBef>
        <a:buFont typeface="Arial" panose="020B0604020202020204" pitchFamily="34" charset="0"/>
        <a:buChar char="•"/>
        <a:defRPr sz="1772" kern="1200">
          <a:solidFill>
            <a:schemeClr val="tx1"/>
          </a:solidFill>
          <a:latin typeface="+mn-lt"/>
          <a:ea typeface="+mn-ea"/>
          <a:cs typeface="+mn-cs"/>
        </a:defRPr>
      </a:lvl1pPr>
      <a:lvl2pPr marL="434020" indent="-144674" algn="l" defTabSz="578694" rtl="0" eaLnBrk="1" latinLnBrk="0" hangingPunct="1">
        <a:lnSpc>
          <a:spcPct val="90000"/>
        </a:lnSpc>
        <a:spcBef>
          <a:spcPts val="317"/>
        </a:spcBef>
        <a:buFont typeface="Arial" panose="020B0604020202020204" pitchFamily="34" charset="0"/>
        <a:buChar char="•"/>
        <a:defRPr sz="1518" kern="1200">
          <a:solidFill>
            <a:schemeClr val="tx1"/>
          </a:solidFill>
          <a:latin typeface="+mn-lt"/>
          <a:ea typeface="+mn-ea"/>
          <a:cs typeface="+mn-cs"/>
        </a:defRPr>
      </a:lvl2pPr>
      <a:lvl3pPr marL="723367" indent="-144674" algn="l" defTabSz="578694" rtl="0" eaLnBrk="1" latinLnBrk="0" hangingPunct="1">
        <a:lnSpc>
          <a:spcPct val="90000"/>
        </a:lnSpc>
        <a:spcBef>
          <a:spcPts val="317"/>
        </a:spcBef>
        <a:buFont typeface="Arial" panose="020B0604020202020204" pitchFamily="34" charset="0"/>
        <a:buChar char="•"/>
        <a:defRPr sz="1265" kern="1200">
          <a:solidFill>
            <a:schemeClr val="tx1"/>
          </a:solidFill>
          <a:latin typeface="+mn-lt"/>
          <a:ea typeface="+mn-ea"/>
          <a:cs typeface="+mn-cs"/>
        </a:defRPr>
      </a:lvl3pPr>
      <a:lvl4pPr marL="1012714" indent="-144674" algn="l" defTabSz="578694" rtl="0" eaLnBrk="1" latinLnBrk="0" hangingPunct="1">
        <a:lnSpc>
          <a:spcPct val="90000"/>
        </a:lnSpc>
        <a:spcBef>
          <a:spcPts val="317"/>
        </a:spcBef>
        <a:buFont typeface="Arial" panose="020B0604020202020204" pitchFamily="34" charset="0"/>
        <a:buChar char="•"/>
        <a:defRPr sz="1139" kern="1200">
          <a:solidFill>
            <a:schemeClr val="tx1"/>
          </a:solidFill>
          <a:latin typeface="+mn-lt"/>
          <a:ea typeface="+mn-ea"/>
          <a:cs typeface="+mn-cs"/>
        </a:defRPr>
      </a:lvl4pPr>
      <a:lvl5pPr marL="1302062" indent="-144674" algn="l" defTabSz="578694" rtl="0" eaLnBrk="1" latinLnBrk="0" hangingPunct="1">
        <a:lnSpc>
          <a:spcPct val="90000"/>
        </a:lnSpc>
        <a:spcBef>
          <a:spcPts val="317"/>
        </a:spcBef>
        <a:buFont typeface="Arial" panose="020B0604020202020204" pitchFamily="34" charset="0"/>
        <a:buChar char="•"/>
        <a:defRPr sz="1139" kern="1200">
          <a:solidFill>
            <a:schemeClr val="tx1"/>
          </a:solidFill>
          <a:latin typeface="+mn-lt"/>
          <a:ea typeface="+mn-ea"/>
          <a:cs typeface="+mn-cs"/>
        </a:defRPr>
      </a:lvl5pPr>
      <a:lvl6pPr marL="1591409" indent="-144674" algn="l" defTabSz="578694" rtl="0" eaLnBrk="1" latinLnBrk="0" hangingPunct="1">
        <a:lnSpc>
          <a:spcPct val="90000"/>
        </a:lnSpc>
        <a:spcBef>
          <a:spcPts val="317"/>
        </a:spcBef>
        <a:buFont typeface="Arial" panose="020B0604020202020204" pitchFamily="34" charset="0"/>
        <a:buChar char="•"/>
        <a:defRPr sz="1139" kern="1200">
          <a:solidFill>
            <a:schemeClr val="tx1"/>
          </a:solidFill>
          <a:latin typeface="+mn-lt"/>
          <a:ea typeface="+mn-ea"/>
          <a:cs typeface="+mn-cs"/>
        </a:defRPr>
      </a:lvl6pPr>
      <a:lvl7pPr marL="1880755" indent="-144674" algn="l" defTabSz="578694" rtl="0" eaLnBrk="1" latinLnBrk="0" hangingPunct="1">
        <a:lnSpc>
          <a:spcPct val="90000"/>
        </a:lnSpc>
        <a:spcBef>
          <a:spcPts val="317"/>
        </a:spcBef>
        <a:buFont typeface="Arial" panose="020B0604020202020204" pitchFamily="34" charset="0"/>
        <a:buChar char="•"/>
        <a:defRPr sz="1139" kern="1200">
          <a:solidFill>
            <a:schemeClr val="tx1"/>
          </a:solidFill>
          <a:latin typeface="+mn-lt"/>
          <a:ea typeface="+mn-ea"/>
          <a:cs typeface="+mn-cs"/>
        </a:defRPr>
      </a:lvl7pPr>
      <a:lvl8pPr marL="2170103" indent="-144674" algn="l" defTabSz="578694" rtl="0" eaLnBrk="1" latinLnBrk="0" hangingPunct="1">
        <a:lnSpc>
          <a:spcPct val="90000"/>
        </a:lnSpc>
        <a:spcBef>
          <a:spcPts val="317"/>
        </a:spcBef>
        <a:buFont typeface="Arial" panose="020B0604020202020204" pitchFamily="34" charset="0"/>
        <a:buChar char="•"/>
        <a:defRPr sz="1139" kern="1200">
          <a:solidFill>
            <a:schemeClr val="tx1"/>
          </a:solidFill>
          <a:latin typeface="+mn-lt"/>
          <a:ea typeface="+mn-ea"/>
          <a:cs typeface="+mn-cs"/>
        </a:defRPr>
      </a:lvl8pPr>
      <a:lvl9pPr marL="2459450" indent="-144674" algn="l" defTabSz="578694" rtl="0" eaLnBrk="1" latinLnBrk="0" hangingPunct="1">
        <a:lnSpc>
          <a:spcPct val="90000"/>
        </a:lnSpc>
        <a:spcBef>
          <a:spcPts val="317"/>
        </a:spcBef>
        <a:buFont typeface="Arial" panose="020B0604020202020204" pitchFamily="34" charset="0"/>
        <a:buChar char="•"/>
        <a:defRPr sz="113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78694" rtl="0" eaLnBrk="1" latinLnBrk="0" hangingPunct="1">
        <a:defRPr sz="1139" kern="1200">
          <a:solidFill>
            <a:schemeClr val="tx1"/>
          </a:solidFill>
          <a:latin typeface="+mn-lt"/>
          <a:ea typeface="+mn-ea"/>
          <a:cs typeface="+mn-cs"/>
        </a:defRPr>
      </a:lvl1pPr>
      <a:lvl2pPr marL="289347" algn="l" defTabSz="578694" rtl="0" eaLnBrk="1" latinLnBrk="0" hangingPunct="1">
        <a:defRPr sz="1139" kern="1200">
          <a:solidFill>
            <a:schemeClr val="tx1"/>
          </a:solidFill>
          <a:latin typeface="+mn-lt"/>
          <a:ea typeface="+mn-ea"/>
          <a:cs typeface="+mn-cs"/>
        </a:defRPr>
      </a:lvl2pPr>
      <a:lvl3pPr marL="578694" algn="l" defTabSz="578694" rtl="0" eaLnBrk="1" latinLnBrk="0" hangingPunct="1">
        <a:defRPr sz="1139" kern="1200">
          <a:solidFill>
            <a:schemeClr val="tx1"/>
          </a:solidFill>
          <a:latin typeface="+mn-lt"/>
          <a:ea typeface="+mn-ea"/>
          <a:cs typeface="+mn-cs"/>
        </a:defRPr>
      </a:lvl3pPr>
      <a:lvl4pPr marL="868041" algn="l" defTabSz="578694" rtl="0" eaLnBrk="1" latinLnBrk="0" hangingPunct="1">
        <a:defRPr sz="1139" kern="1200">
          <a:solidFill>
            <a:schemeClr val="tx1"/>
          </a:solidFill>
          <a:latin typeface="+mn-lt"/>
          <a:ea typeface="+mn-ea"/>
          <a:cs typeface="+mn-cs"/>
        </a:defRPr>
      </a:lvl4pPr>
      <a:lvl5pPr marL="1157387" algn="l" defTabSz="578694" rtl="0" eaLnBrk="1" latinLnBrk="0" hangingPunct="1">
        <a:defRPr sz="1139" kern="1200">
          <a:solidFill>
            <a:schemeClr val="tx1"/>
          </a:solidFill>
          <a:latin typeface="+mn-lt"/>
          <a:ea typeface="+mn-ea"/>
          <a:cs typeface="+mn-cs"/>
        </a:defRPr>
      </a:lvl5pPr>
      <a:lvl6pPr marL="1446735" algn="l" defTabSz="578694" rtl="0" eaLnBrk="1" latinLnBrk="0" hangingPunct="1">
        <a:defRPr sz="1139" kern="1200">
          <a:solidFill>
            <a:schemeClr val="tx1"/>
          </a:solidFill>
          <a:latin typeface="+mn-lt"/>
          <a:ea typeface="+mn-ea"/>
          <a:cs typeface="+mn-cs"/>
        </a:defRPr>
      </a:lvl6pPr>
      <a:lvl7pPr marL="1736082" algn="l" defTabSz="578694" rtl="0" eaLnBrk="1" latinLnBrk="0" hangingPunct="1">
        <a:defRPr sz="1139" kern="1200">
          <a:solidFill>
            <a:schemeClr val="tx1"/>
          </a:solidFill>
          <a:latin typeface="+mn-lt"/>
          <a:ea typeface="+mn-ea"/>
          <a:cs typeface="+mn-cs"/>
        </a:defRPr>
      </a:lvl7pPr>
      <a:lvl8pPr marL="2025429" algn="l" defTabSz="578694" rtl="0" eaLnBrk="1" latinLnBrk="0" hangingPunct="1">
        <a:defRPr sz="1139" kern="1200">
          <a:solidFill>
            <a:schemeClr val="tx1"/>
          </a:solidFill>
          <a:latin typeface="+mn-lt"/>
          <a:ea typeface="+mn-ea"/>
          <a:cs typeface="+mn-cs"/>
        </a:defRPr>
      </a:lvl8pPr>
      <a:lvl9pPr marL="2314776" algn="l" defTabSz="578694" rtl="0" eaLnBrk="1" latinLnBrk="0" hangingPunct="1">
        <a:defRPr sz="113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3AFAA94-0D1B-40E4-932D-2E51480690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9144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LID4096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FF6C4D2-E8E8-4B3F-BD41-D2D75607BF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371600"/>
            <a:ext cx="11430000" cy="4389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ID4096"/>
          </a:p>
        </p:txBody>
      </p:sp>
      <p:pic>
        <p:nvPicPr>
          <p:cNvPr id="5" name="Picture 4" descr="A drawing of a person&#10;&#10;Description automatically generated">
            <a:extLst>
              <a:ext uri="{FF2B5EF4-FFF2-40B4-BE49-F238E27FC236}">
                <a16:creationId xmlns:a16="http://schemas.microsoft.com/office/drawing/2014/main" id="{86BAC4AE-D3FF-43AD-84FB-CA3863E36C5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280" y="6309360"/>
            <a:ext cx="1540764" cy="2286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2A8BA8B1-2A9A-4EA0-818D-0979B004C3F3}"/>
              </a:ext>
            </a:extLst>
          </p:cNvPr>
          <p:cNvSpPr/>
          <p:nvPr userDrawn="1"/>
        </p:nvSpPr>
        <p:spPr>
          <a:xfrm>
            <a:off x="274320" y="6263640"/>
            <a:ext cx="264194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lobal AIDS Update | 2020</a:t>
            </a:r>
            <a:endParaRPr kumimoji="0" lang="LID4096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41827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 baseline="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LID4096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3AFAA94-0D1B-40E4-932D-2E51480690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9144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LID4096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FF6C4D2-E8E8-4B3F-BD41-D2D75607BF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371600"/>
            <a:ext cx="11430000" cy="4389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ID4096"/>
          </a:p>
        </p:txBody>
      </p:sp>
      <p:pic>
        <p:nvPicPr>
          <p:cNvPr id="4" name="Picture 4" descr="A drawing of a person&#10;&#10;Description automatically generated">
            <a:extLst>
              <a:ext uri="{FF2B5EF4-FFF2-40B4-BE49-F238E27FC236}">
                <a16:creationId xmlns:a16="http://schemas.microsoft.com/office/drawing/2014/main" id="{0E768CA2-E9C3-418C-8903-B6A4C55179A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280" y="6309360"/>
            <a:ext cx="1540764" cy="2286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80A01643-61E5-4386-9C4F-65647A0C7238}"/>
              </a:ext>
            </a:extLst>
          </p:cNvPr>
          <p:cNvSpPr/>
          <p:nvPr userDrawn="1"/>
        </p:nvSpPr>
        <p:spPr>
          <a:xfrm>
            <a:off x="274320" y="6263640"/>
            <a:ext cx="264194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>
                <a:solidFill>
                  <a:schemeClr val="tx1"/>
                </a:solidFill>
                <a:latin typeface="+mj-lt"/>
              </a:rPr>
              <a:t>Global AIDS Update | 2020</a:t>
            </a:r>
            <a:endParaRPr lang="LID4096" sz="160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2239610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 baseline="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LID4096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3AFAA94-0D1B-40E4-932D-2E51480690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9144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LID4096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FF6C4D2-E8E8-4B3F-BD41-D2D75607BF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371600"/>
            <a:ext cx="11430000" cy="4389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ID4096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43A50CA-CE49-4B1A-BB03-57CF7A010BFB}"/>
              </a:ext>
            </a:extLst>
          </p:cNvPr>
          <p:cNvSpPr txBox="1"/>
          <p:nvPr userDrawn="1"/>
        </p:nvSpPr>
        <p:spPr>
          <a:xfrm>
            <a:off x="457200" y="6393106"/>
            <a:ext cx="511679" cy="169277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defPPr>
              <a:defRPr lang="LID4096"/>
            </a:defPPr>
            <a:lvl1pPr>
              <a:defRPr sz="800" baseline="0"/>
            </a:lvl1pPr>
          </a:lstStyle>
          <a:p>
            <a:pPr lvl="0"/>
            <a:r>
              <a:rPr lang="fr-CH" sz="1100" baseline="0"/>
              <a:t>Source:</a:t>
            </a:r>
            <a:endParaRPr lang="LID4096" sz="1100" baseline="0"/>
          </a:p>
        </p:txBody>
      </p:sp>
    </p:spTree>
    <p:extLst>
      <p:ext uri="{BB962C8B-B14F-4D97-AF65-F5344CB8AC3E}">
        <p14:creationId xmlns:p14="http://schemas.microsoft.com/office/powerpoint/2010/main" val="4163015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82" r:id="rId2"/>
    <p:sldLayoutId id="2147483683" r:id="rId3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 baseline="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LID4096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415F6638-3266-4806-9764-3BC6BD08BFE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4175" y="6305860"/>
            <a:ext cx="1237869" cy="2321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B099488-5022-48E6-A371-53D8D614FEDB}"/>
              </a:ext>
            </a:extLst>
          </p:cNvPr>
          <p:cNvSpPr/>
          <p:nvPr userDrawn="1"/>
        </p:nvSpPr>
        <p:spPr>
          <a:xfrm>
            <a:off x="274320" y="6263640"/>
            <a:ext cx="264194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>
                <a:solidFill>
                  <a:srgbClr val="FFFFFF"/>
                </a:solidFill>
                <a:latin typeface="+mj-lt"/>
              </a:rPr>
              <a:t>Global AIDS Update | 2020</a:t>
            </a:r>
            <a:endParaRPr lang="LID4096" sz="1600">
              <a:solidFill>
                <a:srgbClr val="FFFFFF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9068015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4" r:id="rId2"/>
    <p:sldLayoutId id="2147483685" r:id="rId3"/>
    <p:sldLayoutId id="2147483690" r:id="rId4"/>
    <p:sldLayoutId id="2147483686" r:id="rId5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 baseline="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LID4096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3AFAA94-0D1B-40E4-932D-2E51480690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9144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LID4096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FF6C4D2-E8E8-4B3F-BD41-D2D75607BF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371600"/>
            <a:ext cx="11430000" cy="4389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ID4096"/>
          </a:p>
        </p:txBody>
      </p:sp>
      <p:pic>
        <p:nvPicPr>
          <p:cNvPr id="6" name="Picture 5" descr="A drawing of a person&#10;&#10;Description automatically generated">
            <a:extLst>
              <a:ext uri="{FF2B5EF4-FFF2-40B4-BE49-F238E27FC236}">
                <a16:creationId xmlns:a16="http://schemas.microsoft.com/office/drawing/2014/main" id="{A3EB4EAF-AE2E-4064-9928-29F62484BD6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280" y="6309360"/>
            <a:ext cx="1540764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3015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 baseline="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LID4096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Rectangle 3">
            <a:extLst>
              <a:ext uri="{FF2B5EF4-FFF2-40B4-BE49-F238E27FC236}">
                <a16:creationId xmlns:a16="http://schemas.microsoft.com/office/drawing/2014/main" id="{BDE04265-4E72-4624-BB96-399B6002E22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12192000" cy="1238270"/>
          </a:xfrm>
          <a:prstGeom prst="rect">
            <a:avLst/>
          </a:prstGeom>
          <a:noFill/>
          <a:ln>
            <a:noFill/>
          </a:ln>
          <a:effectLst>
            <a:outerShdw dist="17961" dir="2700000" algn="ctr" rotWithShape="0">
              <a:srgbClr val="96CCEE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7172" name="Rectangle 4">
            <a:extLst>
              <a:ext uri="{FF2B5EF4-FFF2-40B4-BE49-F238E27FC236}">
                <a16:creationId xmlns:a16="http://schemas.microsoft.com/office/drawing/2014/main" id="{117B39E2-FA80-4AB4-8E87-715A2A20388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590052" y="1380815"/>
            <a:ext cx="11055335" cy="46118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</p:txBody>
      </p:sp>
      <p:sp>
        <p:nvSpPr>
          <p:cNvPr id="7174" name="Line 6">
            <a:extLst>
              <a:ext uri="{FF2B5EF4-FFF2-40B4-BE49-F238E27FC236}">
                <a16:creationId xmlns:a16="http://schemas.microsoft.com/office/drawing/2014/main" id="{5D25449D-4BDF-485F-BBF8-119FE436DA2F}"/>
              </a:ext>
            </a:extLst>
          </p:cNvPr>
          <p:cNvSpPr>
            <a:spLocks noChangeShapeType="1"/>
          </p:cNvSpPr>
          <p:nvPr/>
        </p:nvSpPr>
        <p:spPr bwMode="auto">
          <a:xfrm>
            <a:off x="0" y="1246909"/>
            <a:ext cx="12192000" cy="0"/>
          </a:xfrm>
          <a:prstGeom prst="line">
            <a:avLst/>
          </a:prstGeom>
          <a:noFill/>
          <a:ln w="38100">
            <a:solidFill>
              <a:srgbClr val="1E7FB8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28398" dir="1593903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633"/>
          </a:p>
        </p:txBody>
      </p:sp>
      <p:sp>
        <p:nvSpPr>
          <p:cNvPr id="7180" name="Rectangle 12">
            <a:extLst>
              <a:ext uri="{FF2B5EF4-FFF2-40B4-BE49-F238E27FC236}">
                <a16:creationId xmlns:a16="http://schemas.microsoft.com/office/drawing/2014/main" id="{D3C4D106-5F71-4874-91A5-76B09FBFF3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11" y="6015688"/>
            <a:ext cx="12192000" cy="842312"/>
          </a:xfrm>
          <a:prstGeom prst="rect">
            <a:avLst/>
          </a:prstGeom>
          <a:solidFill>
            <a:srgbClr val="1E7FB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3"/>
          </a:p>
        </p:txBody>
      </p:sp>
      <p:sp>
        <p:nvSpPr>
          <p:cNvPr id="7181" name="Rectangle 13">
            <a:extLst>
              <a:ext uri="{FF2B5EF4-FFF2-40B4-BE49-F238E27FC236}">
                <a16:creationId xmlns:a16="http://schemas.microsoft.com/office/drawing/2014/main" id="{6822BC6D-DA5C-456D-950A-08EBD44768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6215" y="6426045"/>
            <a:ext cx="5663415" cy="4319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algn="r" defTabSz="1042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20700" algn="r" defTabSz="1042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042988" algn="r" defTabSz="1042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63688" algn="r" defTabSz="1042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85975" algn="r" defTabSz="1042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431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003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575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147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l" rtl="0"/>
            <a:r>
              <a:rPr lang="en-US" altLang="en-US" sz="1270">
                <a:solidFill>
                  <a:srgbClr val="96CCEE"/>
                </a:solidFill>
                <a:latin typeface="Arial Narrow" panose="020B0606020202030204" pitchFamily="34" charset="0"/>
              </a:rPr>
              <a:t>TITLE from VIEW and SLIDE MASTER</a:t>
            </a:r>
            <a:r>
              <a:rPr lang="en-US" altLang="en-US" sz="1270">
                <a:solidFill>
                  <a:srgbClr val="72BBE8"/>
                </a:solidFill>
                <a:latin typeface="Arial Narrow" panose="020B0606020202030204" pitchFamily="34" charset="0"/>
              </a:rPr>
              <a:t> </a:t>
            </a:r>
            <a:r>
              <a:rPr lang="en-US" altLang="en-US" sz="127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en-US" altLang="en-US" sz="1814" baseline="12000">
                <a:solidFill>
                  <a:schemeClr val="bg1"/>
                </a:solidFill>
                <a:latin typeface="Arial Narrow" panose="020B0606020202030204" pitchFamily="34" charset="0"/>
              </a:rPr>
              <a:t>|</a:t>
            </a:r>
            <a:r>
              <a:rPr lang="en-US" altLang="en-US" sz="1270">
                <a:solidFill>
                  <a:srgbClr val="96CCEE"/>
                </a:solidFill>
                <a:latin typeface="Arial Narrow" panose="020B0606020202030204" pitchFamily="34" charset="0"/>
              </a:rPr>
              <a:t>  </a:t>
            </a:r>
            <a:fld id="{D92D541E-83EC-4B5E-8E41-A3073E87E2A3}" type="datetime4">
              <a:rPr lang="en-US" altLang="en-US" sz="1270" b="0">
                <a:solidFill>
                  <a:srgbClr val="96CCEE"/>
                </a:solidFill>
                <a:latin typeface="Arial Narrow" panose="020B0606020202030204" pitchFamily="34" charset="0"/>
              </a:rPr>
              <a:pPr algn="l" rtl="0"/>
              <a:t>July 11, 2024</a:t>
            </a:fld>
            <a:endParaRPr lang="en-US" altLang="en-US" sz="1270">
              <a:solidFill>
                <a:srgbClr val="96CCEE"/>
              </a:solidFill>
              <a:latin typeface="Arial Narrow" panose="020B0606020202030204" pitchFamily="34" charset="0"/>
            </a:endParaRPr>
          </a:p>
        </p:txBody>
      </p:sp>
      <p:sp>
        <p:nvSpPr>
          <p:cNvPr id="7182" name="Rectangle 14">
            <a:extLst>
              <a:ext uri="{FF2B5EF4-FFF2-40B4-BE49-F238E27FC236}">
                <a16:creationId xmlns:a16="http://schemas.microsoft.com/office/drawing/2014/main" id="{0BF89F4C-3F91-4522-9E3B-78B091AD2C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9645" y="6398688"/>
            <a:ext cx="474214" cy="3326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algn="r" defTabSz="1042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20700" algn="r" defTabSz="1042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042988" algn="r" defTabSz="1042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63688" algn="r" defTabSz="1042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85975" algn="r" defTabSz="1042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431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003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575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147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rtl="0"/>
            <a:fld id="{BC6A73B9-BAC3-44CD-8250-95DD6F4B969D}" type="slidenum">
              <a:rPr lang="ar-SA" altLang="en-US" sz="1542">
                <a:solidFill>
                  <a:srgbClr val="72BBE8"/>
                </a:solidFill>
                <a:latin typeface="Arial Narrow" panose="020B0606020202030204" pitchFamily="34" charset="0"/>
              </a:rPr>
              <a:pPr rtl="0"/>
              <a:t>‹#›</a:t>
            </a:fld>
            <a:r>
              <a:rPr lang="en-US" altLang="en-US" sz="1542">
                <a:solidFill>
                  <a:srgbClr val="72BBE8"/>
                </a:solidFill>
                <a:latin typeface="Arial Narrow" panose="020B0606020202030204" pitchFamily="34" charset="0"/>
              </a:rPr>
              <a:t> </a:t>
            </a:r>
            <a:r>
              <a:rPr lang="en-US" altLang="en-US" sz="2177" baseline="14000">
                <a:solidFill>
                  <a:schemeClr val="bg1"/>
                </a:solidFill>
                <a:latin typeface="Arial Narrow" panose="020B0606020202030204" pitchFamily="34" charset="0"/>
              </a:rPr>
              <a:t>|</a:t>
            </a:r>
          </a:p>
        </p:txBody>
      </p:sp>
      <p:pic>
        <p:nvPicPr>
          <p:cNvPr id="7185" name="Picture 17" descr="WHO-EN-white-H">
            <a:extLst>
              <a:ext uri="{FF2B5EF4-FFF2-40B4-BE49-F238E27FC236}">
                <a16:creationId xmlns:a16="http://schemas.microsoft.com/office/drawing/2014/main" id="{7FE24C3B-6F1D-468C-986F-01B034F1A9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75668" y="6040166"/>
            <a:ext cx="2943021" cy="7170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14257014-D951-40FB-B3CD-951787BA773A}"/>
              </a:ext>
            </a:extLst>
          </p:cNvPr>
          <p:cNvSpPr/>
          <p:nvPr userDrawn="1"/>
        </p:nvSpPr>
        <p:spPr bwMode="auto">
          <a:xfrm>
            <a:off x="344041" y="6303082"/>
            <a:ext cx="6244852" cy="422970"/>
          </a:xfrm>
          <a:prstGeom prst="rect">
            <a:avLst/>
          </a:prstGeom>
          <a:solidFill>
            <a:srgbClr val="1E7FB8"/>
          </a:solidFill>
          <a:ln w="9525" cap="flat" cmpd="sng" algn="ctr">
            <a:solidFill>
              <a:srgbClr val="1E7FB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935" tIns="41468" rIns="82935" bIns="41468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4599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537" b="1" i="0" u="none" strike="noStrike" cap="none" normalizeH="0" baseline="0">
              <a:ln>
                <a:noFill/>
              </a:ln>
              <a:solidFill>
                <a:srgbClr val="000066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67243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</p:sldLayoutIdLst>
  <p:txStyles>
    <p:titleStyle>
      <a:lvl1pPr algn="ctr" defTabSz="945990" rtl="0" eaLnBrk="1" fontAlgn="base" hangingPunct="1">
        <a:spcBef>
          <a:spcPct val="0"/>
        </a:spcBef>
        <a:spcAft>
          <a:spcPct val="0"/>
        </a:spcAft>
        <a:defRPr sz="3628" b="1" kern="1200">
          <a:solidFill>
            <a:srgbClr val="000066"/>
          </a:solidFill>
          <a:latin typeface="+mj-lt"/>
          <a:ea typeface="+mj-ea"/>
          <a:cs typeface="+mj-cs"/>
        </a:defRPr>
      </a:lvl1pPr>
      <a:lvl2pPr algn="ctr" defTabSz="945990" rtl="0" eaLnBrk="1" fontAlgn="base" hangingPunct="1">
        <a:spcBef>
          <a:spcPct val="0"/>
        </a:spcBef>
        <a:spcAft>
          <a:spcPct val="0"/>
        </a:spcAft>
        <a:defRPr sz="3628" b="1">
          <a:solidFill>
            <a:srgbClr val="000066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ctr" defTabSz="945990" rtl="0" eaLnBrk="1" fontAlgn="base" hangingPunct="1">
        <a:spcBef>
          <a:spcPct val="0"/>
        </a:spcBef>
        <a:spcAft>
          <a:spcPct val="0"/>
        </a:spcAft>
        <a:defRPr sz="3628" b="1">
          <a:solidFill>
            <a:srgbClr val="000066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ctr" defTabSz="945990" rtl="0" eaLnBrk="1" fontAlgn="base" hangingPunct="1">
        <a:spcBef>
          <a:spcPct val="0"/>
        </a:spcBef>
        <a:spcAft>
          <a:spcPct val="0"/>
        </a:spcAft>
        <a:defRPr sz="3628" b="1">
          <a:solidFill>
            <a:srgbClr val="000066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ctr" defTabSz="945990" rtl="0" eaLnBrk="1" fontAlgn="base" hangingPunct="1">
        <a:spcBef>
          <a:spcPct val="0"/>
        </a:spcBef>
        <a:spcAft>
          <a:spcPct val="0"/>
        </a:spcAft>
        <a:defRPr sz="3628" b="1">
          <a:solidFill>
            <a:srgbClr val="000066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14680" algn="ctr" defTabSz="945990" rtl="0" eaLnBrk="1" fontAlgn="base" hangingPunct="1">
        <a:spcBef>
          <a:spcPct val="0"/>
        </a:spcBef>
        <a:spcAft>
          <a:spcPct val="0"/>
        </a:spcAft>
        <a:defRPr sz="3628" b="1">
          <a:solidFill>
            <a:srgbClr val="000066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829361" algn="ctr" defTabSz="945990" rtl="0" eaLnBrk="1" fontAlgn="base" hangingPunct="1">
        <a:spcBef>
          <a:spcPct val="0"/>
        </a:spcBef>
        <a:spcAft>
          <a:spcPct val="0"/>
        </a:spcAft>
        <a:defRPr sz="3628" b="1">
          <a:solidFill>
            <a:srgbClr val="000066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244041" algn="ctr" defTabSz="945990" rtl="0" eaLnBrk="1" fontAlgn="base" hangingPunct="1">
        <a:spcBef>
          <a:spcPct val="0"/>
        </a:spcBef>
        <a:spcAft>
          <a:spcPct val="0"/>
        </a:spcAft>
        <a:defRPr sz="3628" b="1">
          <a:solidFill>
            <a:srgbClr val="000066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658722" algn="ctr" defTabSz="945990" rtl="0" eaLnBrk="1" fontAlgn="base" hangingPunct="1">
        <a:spcBef>
          <a:spcPct val="0"/>
        </a:spcBef>
        <a:spcAft>
          <a:spcPct val="0"/>
        </a:spcAft>
        <a:defRPr sz="3628" b="1">
          <a:solidFill>
            <a:srgbClr val="000066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354206" indent="-354206" algn="l" defTabSz="945990" rtl="0" eaLnBrk="1" fontAlgn="base" hangingPunct="1">
        <a:spcBef>
          <a:spcPct val="80000"/>
        </a:spcBef>
        <a:spcAft>
          <a:spcPct val="0"/>
        </a:spcAft>
        <a:buClr>
          <a:srgbClr val="1E7FB8"/>
        </a:buClr>
        <a:buFont typeface="Wingdings" panose="05000000000000000000" pitchFamily="2" charset="2"/>
        <a:buChar char="l"/>
        <a:defRPr sz="2540" kern="1200">
          <a:solidFill>
            <a:srgbClr val="000066"/>
          </a:solidFill>
          <a:latin typeface="+mn-lt"/>
          <a:ea typeface="+mn-ea"/>
          <a:cs typeface="+mn-cs"/>
        </a:defRPr>
      </a:lvl1pPr>
      <a:lvl2pPr marL="833681" indent="-292293" algn="l" defTabSz="945990" rtl="0" eaLnBrk="1" fontAlgn="base" hangingPunct="1">
        <a:spcBef>
          <a:spcPct val="20000"/>
        </a:spcBef>
        <a:spcAft>
          <a:spcPct val="0"/>
        </a:spcAft>
        <a:buClr>
          <a:srgbClr val="1E7FB8"/>
        </a:buClr>
        <a:buFont typeface="Arial" panose="020B0604020202020204" pitchFamily="34" charset="0"/>
        <a:buChar char="–"/>
        <a:defRPr sz="2177" kern="1200">
          <a:solidFill>
            <a:srgbClr val="000066"/>
          </a:solidFill>
          <a:latin typeface="+mn-lt"/>
          <a:ea typeface="+mn-ea"/>
          <a:cs typeface="+mn-cs"/>
        </a:defRPr>
      </a:lvl2pPr>
      <a:lvl3pPr marL="1300196" indent="-279333" algn="l" defTabSz="945990" rtl="0" eaLnBrk="1" fontAlgn="base" hangingPunct="1">
        <a:spcBef>
          <a:spcPct val="20000"/>
        </a:spcBef>
        <a:spcAft>
          <a:spcPct val="0"/>
        </a:spcAft>
        <a:buClr>
          <a:srgbClr val="1E7FB8"/>
        </a:buClr>
        <a:buChar char="•"/>
        <a:defRPr sz="2177" kern="1200">
          <a:solidFill>
            <a:srgbClr val="000066"/>
          </a:solidFill>
          <a:latin typeface="Arial Narrow" panose="020B0606020202030204" pitchFamily="34" charset="0"/>
          <a:ea typeface="+mn-ea"/>
          <a:cs typeface="+mn-cs"/>
        </a:defRPr>
      </a:lvl3pPr>
      <a:lvl4pPr marL="1722076" indent="-234698" algn="l" defTabSz="945990" rtl="0" eaLnBrk="1" fontAlgn="base" hangingPunct="1">
        <a:spcBef>
          <a:spcPct val="20000"/>
        </a:spcBef>
        <a:spcAft>
          <a:spcPct val="0"/>
        </a:spcAft>
        <a:buClr>
          <a:srgbClr val="1E7FB8"/>
        </a:buClr>
        <a:buChar char="–"/>
        <a:defRPr sz="2177" kern="1200">
          <a:solidFill>
            <a:srgbClr val="000066"/>
          </a:solidFill>
          <a:latin typeface="Arial Narrow" panose="020B0606020202030204" pitchFamily="34" charset="0"/>
          <a:ea typeface="+mn-ea"/>
          <a:cs typeface="+mn-cs"/>
        </a:defRPr>
      </a:lvl4pPr>
      <a:lvl5pPr marL="2057564" indent="-149746" algn="r" defTabSz="945990" rtl="1" eaLnBrk="1" fontAlgn="base" hangingPunct="1">
        <a:spcBef>
          <a:spcPct val="20000"/>
        </a:spcBef>
        <a:spcAft>
          <a:spcPct val="0"/>
        </a:spcAft>
        <a:buChar char="»"/>
        <a:defRPr sz="2086" kern="1200">
          <a:solidFill>
            <a:srgbClr val="000066"/>
          </a:solidFill>
          <a:latin typeface="+mn-lt"/>
          <a:ea typeface="+mn-ea"/>
          <a:cs typeface="+mn-cs"/>
        </a:defRPr>
      </a:lvl5pPr>
      <a:lvl6pPr marL="2280742" indent="-207340" algn="l" defTabSz="829361" rtl="0" eaLnBrk="1" latinLnBrk="0" hangingPunct="1">
        <a:lnSpc>
          <a:spcPct val="90000"/>
        </a:lnSpc>
        <a:spcBef>
          <a:spcPts val="454"/>
        </a:spcBef>
        <a:buFont typeface="Arial" panose="020B0604020202020204" pitchFamily="34" charset="0"/>
        <a:buChar char="•"/>
        <a:defRPr sz="1633" kern="1200">
          <a:solidFill>
            <a:schemeClr val="tx1"/>
          </a:solidFill>
          <a:latin typeface="+mn-lt"/>
          <a:ea typeface="+mn-ea"/>
          <a:cs typeface="+mn-cs"/>
        </a:defRPr>
      </a:lvl6pPr>
      <a:lvl7pPr marL="2695423" indent="-207340" algn="l" defTabSz="829361" rtl="0" eaLnBrk="1" latinLnBrk="0" hangingPunct="1">
        <a:lnSpc>
          <a:spcPct val="90000"/>
        </a:lnSpc>
        <a:spcBef>
          <a:spcPts val="454"/>
        </a:spcBef>
        <a:buFont typeface="Arial" panose="020B0604020202020204" pitchFamily="34" charset="0"/>
        <a:buChar char="•"/>
        <a:defRPr sz="1633" kern="1200">
          <a:solidFill>
            <a:schemeClr val="tx1"/>
          </a:solidFill>
          <a:latin typeface="+mn-lt"/>
          <a:ea typeface="+mn-ea"/>
          <a:cs typeface="+mn-cs"/>
        </a:defRPr>
      </a:lvl7pPr>
      <a:lvl8pPr marL="3110103" indent="-207340" algn="l" defTabSz="829361" rtl="0" eaLnBrk="1" latinLnBrk="0" hangingPunct="1">
        <a:lnSpc>
          <a:spcPct val="90000"/>
        </a:lnSpc>
        <a:spcBef>
          <a:spcPts val="454"/>
        </a:spcBef>
        <a:buFont typeface="Arial" panose="020B0604020202020204" pitchFamily="34" charset="0"/>
        <a:buChar char="•"/>
        <a:defRPr sz="1633" kern="1200">
          <a:solidFill>
            <a:schemeClr val="tx1"/>
          </a:solidFill>
          <a:latin typeface="+mn-lt"/>
          <a:ea typeface="+mn-ea"/>
          <a:cs typeface="+mn-cs"/>
        </a:defRPr>
      </a:lvl8pPr>
      <a:lvl9pPr marL="3524783" indent="-207340" algn="l" defTabSz="829361" rtl="0" eaLnBrk="1" latinLnBrk="0" hangingPunct="1">
        <a:lnSpc>
          <a:spcPct val="90000"/>
        </a:lnSpc>
        <a:spcBef>
          <a:spcPts val="454"/>
        </a:spcBef>
        <a:buFont typeface="Arial" panose="020B0604020202020204" pitchFamily="34" charset="0"/>
        <a:buChar char="•"/>
        <a:defRPr sz="16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29361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1pPr>
      <a:lvl2pPr marL="414680" algn="l" defTabSz="829361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2pPr>
      <a:lvl3pPr marL="829361" algn="l" defTabSz="829361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3pPr>
      <a:lvl4pPr marL="1244041" algn="l" defTabSz="829361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4pPr>
      <a:lvl5pPr marL="1658722" algn="l" defTabSz="829361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5pPr>
      <a:lvl6pPr marL="2073402" algn="l" defTabSz="829361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6pPr>
      <a:lvl7pPr marL="2488082" algn="l" defTabSz="829361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7pPr>
      <a:lvl8pPr marL="2902763" algn="l" defTabSz="829361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8pPr>
      <a:lvl9pPr marL="3317443" algn="l" defTabSz="829361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Rectangle 3">
            <a:extLst>
              <a:ext uri="{FF2B5EF4-FFF2-40B4-BE49-F238E27FC236}">
                <a16:creationId xmlns:a16="http://schemas.microsoft.com/office/drawing/2014/main" id="{BDE04265-4E72-4624-BB96-399B6002E22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12192000" cy="1238270"/>
          </a:xfrm>
          <a:prstGeom prst="rect">
            <a:avLst/>
          </a:prstGeom>
          <a:noFill/>
          <a:ln>
            <a:noFill/>
          </a:ln>
          <a:effectLst>
            <a:outerShdw dist="17961" dir="2700000" algn="ctr" rotWithShape="0">
              <a:srgbClr val="96CCEE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7172" name="Rectangle 4">
            <a:extLst>
              <a:ext uri="{FF2B5EF4-FFF2-40B4-BE49-F238E27FC236}">
                <a16:creationId xmlns:a16="http://schemas.microsoft.com/office/drawing/2014/main" id="{117B39E2-FA80-4AB4-8E87-715A2A20388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590052" y="1380815"/>
            <a:ext cx="11055335" cy="46118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</p:txBody>
      </p:sp>
      <p:sp>
        <p:nvSpPr>
          <p:cNvPr id="7174" name="Line 6">
            <a:extLst>
              <a:ext uri="{FF2B5EF4-FFF2-40B4-BE49-F238E27FC236}">
                <a16:creationId xmlns:a16="http://schemas.microsoft.com/office/drawing/2014/main" id="{5D25449D-4BDF-485F-BBF8-119FE436DA2F}"/>
              </a:ext>
            </a:extLst>
          </p:cNvPr>
          <p:cNvSpPr>
            <a:spLocks noChangeShapeType="1"/>
          </p:cNvSpPr>
          <p:nvPr/>
        </p:nvSpPr>
        <p:spPr bwMode="auto">
          <a:xfrm>
            <a:off x="0" y="1246909"/>
            <a:ext cx="12192000" cy="0"/>
          </a:xfrm>
          <a:prstGeom prst="line">
            <a:avLst/>
          </a:prstGeom>
          <a:noFill/>
          <a:ln w="38100">
            <a:solidFill>
              <a:srgbClr val="1E7FB8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28398" dir="1593903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299"/>
          </a:p>
        </p:txBody>
      </p:sp>
      <p:sp>
        <p:nvSpPr>
          <p:cNvPr id="7180" name="Rectangle 12">
            <a:extLst>
              <a:ext uri="{FF2B5EF4-FFF2-40B4-BE49-F238E27FC236}">
                <a16:creationId xmlns:a16="http://schemas.microsoft.com/office/drawing/2014/main" id="{D3C4D106-5F71-4874-91A5-76B09FBFF3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11" y="6015688"/>
            <a:ext cx="12192000" cy="842312"/>
          </a:xfrm>
          <a:prstGeom prst="rect">
            <a:avLst/>
          </a:prstGeom>
          <a:solidFill>
            <a:srgbClr val="1E7FB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299"/>
          </a:p>
        </p:txBody>
      </p:sp>
      <p:sp>
        <p:nvSpPr>
          <p:cNvPr id="7181" name="Rectangle 13">
            <a:extLst>
              <a:ext uri="{FF2B5EF4-FFF2-40B4-BE49-F238E27FC236}">
                <a16:creationId xmlns:a16="http://schemas.microsoft.com/office/drawing/2014/main" id="{6822BC6D-DA5C-456D-950A-08EBD44768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6216" y="6426045"/>
            <a:ext cx="5663415" cy="4319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algn="r" defTabSz="1042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20700" algn="r" defTabSz="1042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042988" algn="r" defTabSz="1042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63688" algn="r" defTabSz="1042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85975" algn="r" defTabSz="1042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431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003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575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147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l" rtl="0"/>
            <a:r>
              <a:rPr lang="en-US" altLang="en-US" sz="1010">
                <a:solidFill>
                  <a:srgbClr val="96CCEE"/>
                </a:solidFill>
                <a:latin typeface="Arial Narrow" panose="020B0606020202030204" pitchFamily="34" charset="0"/>
              </a:rPr>
              <a:t>TITLE from VIEW and SLIDE MASTER</a:t>
            </a:r>
            <a:r>
              <a:rPr lang="en-US" altLang="en-US" sz="1010">
                <a:solidFill>
                  <a:srgbClr val="72BBE8"/>
                </a:solidFill>
                <a:latin typeface="Arial Narrow" panose="020B0606020202030204" pitchFamily="34" charset="0"/>
              </a:rPr>
              <a:t> </a:t>
            </a:r>
            <a:r>
              <a:rPr lang="en-US" altLang="en-US" sz="101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en-US" altLang="en-US" sz="1443" baseline="12000">
                <a:solidFill>
                  <a:schemeClr val="bg1"/>
                </a:solidFill>
                <a:latin typeface="Arial Narrow" panose="020B0606020202030204" pitchFamily="34" charset="0"/>
              </a:rPr>
              <a:t>|</a:t>
            </a:r>
            <a:r>
              <a:rPr lang="en-US" altLang="en-US" sz="1010">
                <a:solidFill>
                  <a:srgbClr val="96CCEE"/>
                </a:solidFill>
                <a:latin typeface="Arial Narrow" panose="020B0606020202030204" pitchFamily="34" charset="0"/>
              </a:rPr>
              <a:t>  </a:t>
            </a:r>
            <a:fld id="{D92D541E-83EC-4B5E-8E41-A3073E87E2A3}" type="datetime4">
              <a:rPr lang="en-US" altLang="en-US" sz="1010" b="0">
                <a:solidFill>
                  <a:srgbClr val="96CCEE"/>
                </a:solidFill>
                <a:latin typeface="Arial Narrow" panose="020B0606020202030204" pitchFamily="34" charset="0"/>
              </a:rPr>
              <a:pPr algn="l" rtl="0"/>
              <a:t>July 11, 2024</a:t>
            </a:fld>
            <a:endParaRPr lang="en-US" altLang="en-US" sz="1010">
              <a:solidFill>
                <a:srgbClr val="96CCEE"/>
              </a:solidFill>
              <a:latin typeface="Arial Narrow" panose="020B0606020202030204" pitchFamily="34" charset="0"/>
            </a:endParaRPr>
          </a:p>
        </p:txBody>
      </p:sp>
      <p:sp>
        <p:nvSpPr>
          <p:cNvPr id="7182" name="Rectangle 14">
            <a:extLst>
              <a:ext uri="{FF2B5EF4-FFF2-40B4-BE49-F238E27FC236}">
                <a16:creationId xmlns:a16="http://schemas.microsoft.com/office/drawing/2014/main" id="{0BF89F4C-3F91-4522-9E3B-78B091AD2C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9646" y="6398688"/>
            <a:ext cx="474214" cy="3326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algn="r" defTabSz="1042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20700" algn="r" defTabSz="1042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042988" algn="r" defTabSz="1042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63688" algn="r" defTabSz="1042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85975" algn="r" defTabSz="1042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431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003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575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147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rtl="0"/>
            <a:fld id="{BC6A73B9-BAC3-44CD-8250-95DD6F4B969D}" type="slidenum">
              <a:rPr lang="ar-SA" altLang="en-US" sz="1226">
                <a:solidFill>
                  <a:srgbClr val="72BBE8"/>
                </a:solidFill>
                <a:latin typeface="Arial Narrow" panose="020B0606020202030204" pitchFamily="34" charset="0"/>
              </a:rPr>
              <a:pPr rtl="0"/>
              <a:t>‹#›</a:t>
            </a:fld>
            <a:r>
              <a:rPr lang="en-US" altLang="en-US" sz="1226">
                <a:solidFill>
                  <a:srgbClr val="72BBE8"/>
                </a:solidFill>
                <a:latin typeface="Arial Narrow" panose="020B0606020202030204" pitchFamily="34" charset="0"/>
              </a:rPr>
              <a:t> </a:t>
            </a:r>
            <a:r>
              <a:rPr lang="en-US" altLang="en-US" sz="1731" baseline="14000">
                <a:solidFill>
                  <a:schemeClr val="bg1"/>
                </a:solidFill>
                <a:latin typeface="Arial Narrow" panose="020B0606020202030204" pitchFamily="34" charset="0"/>
              </a:rPr>
              <a:t>|</a:t>
            </a:r>
          </a:p>
        </p:txBody>
      </p:sp>
      <p:pic>
        <p:nvPicPr>
          <p:cNvPr id="7185" name="Picture 17" descr="WHO-EN-white-H">
            <a:extLst>
              <a:ext uri="{FF2B5EF4-FFF2-40B4-BE49-F238E27FC236}">
                <a16:creationId xmlns:a16="http://schemas.microsoft.com/office/drawing/2014/main" id="{7FE24C3B-6F1D-468C-986F-01B034F1A9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75669" y="6040167"/>
            <a:ext cx="2943021" cy="7170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14257014-D951-40FB-B3CD-951787BA773A}"/>
              </a:ext>
            </a:extLst>
          </p:cNvPr>
          <p:cNvSpPr/>
          <p:nvPr userDrawn="1"/>
        </p:nvSpPr>
        <p:spPr bwMode="auto">
          <a:xfrm>
            <a:off x="344041" y="6303082"/>
            <a:ext cx="6244852" cy="422970"/>
          </a:xfrm>
          <a:prstGeom prst="rect">
            <a:avLst/>
          </a:prstGeom>
          <a:solidFill>
            <a:srgbClr val="1E7FB8"/>
          </a:solidFill>
          <a:ln w="9525" cap="flat" cmpd="sng" algn="ctr">
            <a:solidFill>
              <a:srgbClr val="1E7FB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5975" tIns="32988" rIns="65975" bIns="32988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752563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14" b="1" i="0" u="none" strike="noStrike" cap="none" normalizeH="0" baseline="0">
              <a:ln>
                <a:noFill/>
              </a:ln>
              <a:solidFill>
                <a:srgbClr val="000066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1669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</p:sldLayoutIdLst>
  <p:txStyles>
    <p:titleStyle>
      <a:lvl1pPr algn="ctr" defTabSz="752563" rtl="0" eaLnBrk="1" fontAlgn="base" hangingPunct="1">
        <a:spcBef>
          <a:spcPct val="0"/>
        </a:spcBef>
        <a:spcAft>
          <a:spcPct val="0"/>
        </a:spcAft>
        <a:defRPr sz="2886" b="1" kern="1200">
          <a:solidFill>
            <a:srgbClr val="000066"/>
          </a:solidFill>
          <a:latin typeface="+mj-lt"/>
          <a:ea typeface="+mj-ea"/>
          <a:cs typeface="+mj-cs"/>
        </a:defRPr>
      </a:lvl1pPr>
      <a:lvl2pPr algn="ctr" defTabSz="752563" rtl="0" eaLnBrk="1" fontAlgn="base" hangingPunct="1">
        <a:spcBef>
          <a:spcPct val="0"/>
        </a:spcBef>
        <a:spcAft>
          <a:spcPct val="0"/>
        </a:spcAft>
        <a:defRPr sz="2886" b="1">
          <a:solidFill>
            <a:srgbClr val="000066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ctr" defTabSz="752563" rtl="0" eaLnBrk="1" fontAlgn="base" hangingPunct="1">
        <a:spcBef>
          <a:spcPct val="0"/>
        </a:spcBef>
        <a:spcAft>
          <a:spcPct val="0"/>
        </a:spcAft>
        <a:defRPr sz="2886" b="1">
          <a:solidFill>
            <a:srgbClr val="000066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ctr" defTabSz="752563" rtl="0" eaLnBrk="1" fontAlgn="base" hangingPunct="1">
        <a:spcBef>
          <a:spcPct val="0"/>
        </a:spcBef>
        <a:spcAft>
          <a:spcPct val="0"/>
        </a:spcAft>
        <a:defRPr sz="2886" b="1">
          <a:solidFill>
            <a:srgbClr val="000066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ctr" defTabSz="752563" rtl="0" eaLnBrk="1" fontAlgn="base" hangingPunct="1">
        <a:spcBef>
          <a:spcPct val="0"/>
        </a:spcBef>
        <a:spcAft>
          <a:spcPct val="0"/>
        </a:spcAft>
        <a:defRPr sz="2886" b="1">
          <a:solidFill>
            <a:srgbClr val="000066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329890" algn="ctr" defTabSz="752563" rtl="0" eaLnBrk="1" fontAlgn="base" hangingPunct="1">
        <a:spcBef>
          <a:spcPct val="0"/>
        </a:spcBef>
        <a:spcAft>
          <a:spcPct val="0"/>
        </a:spcAft>
        <a:defRPr sz="2886" b="1">
          <a:solidFill>
            <a:srgbClr val="000066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659782" algn="ctr" defTabSz="752563" rtl="0" eaLnBrk="1" fontAlgn="base" hangingPunct="1">
        <a:spcBef>
          <a:spcPct val="0"/>
        </a:spcBef>
        <a:spcAft>
          <a:spcPct val="0"/>
        </a:spcAft>
        <a:defRPr sz="2886" b="1">
          <a:solidFill>
            <a:srgbClr val="000066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989671" algn="ctr" defTabSz="752563" rtl="0" eaLnBrk="1" fontAlgn="base" hangingPunct="1">
        <a:spcBef>
          <a:spcPct val="0"/>
        </a:spcBef>
        <a:spcAft>
          <a:spcPct val="0"/>
        </a:spcAft>
        <a:defRPr sz="2886" b="1">
          <a:solidFill>
            <a:srgbClr val="000066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319563" algn="ctr" defTabSz="752563" rtl="0" eaLnBrk="1" fontAlgn="base" hangingPunct="1">
        <a:spcBef>
          <a:spcPct val="0"/>
        </a:spcBef>
        <a:spcAft>
          <a:spcPct val="0"/>
        </a:spcAft>
        <a:defRPr sz="2886" b="1">
          <a:solidFill>
            <a:srgbClr val="000066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81781" indent="-281781" algn="l" defTabSz="752563" rtl="0" eaLnBrk="1" fontAlgn="base" hangingPunct="1">
        <a:spcBef>
          <a:spcPct val="80000"/>
        </a:spcBef>
        <a:spcAft>
          <a:spcPct val="0"/>
        </a:spcAft>
        <a:buClr>
          <a:srgbClr val="1E7FB8"/>
        </a:buClr>
        <a:buFont typeface="Wingdings" panose="05000000000000000000" pitchFamily="2" charset="2"/>
        <a:buChar char="l"/>
        <a:defRPr sz="2021" kern="1200">
          <a:solidFill>
            <a:srgbClr val="000066"/>
          </a:solidFill>
          <a:latin typeface="+mn-lt"/>
          <a:ea typeface="+mn-ea"/>
          <a:cs typeface="+mn-cs"/>
        </a:defRPr>
      </a:lvl1pPr>
      <a:lvl2pPr marL="663218" indent="-232528" algn="l" defTabSz="752563" rtl="0" eaLnBrk="1" fontAlgn="base" hangingPunct="1">
        <a:spcBef>
          <a:spcPct val="20000"/>
        </a:spcBef>
        <a:spcAft>
          <a:spcPct val="0"/>
        </a:spcAft>
        <a:buClr>
          <a:srgbClr val="1E7FB8"/>
        </a:buClr>
        <a:buFont typeface="Arial" panose="020B0604020202020204" pitchFamily="34" charset="0"/>
        <a:buChar char="–"/>
        <a:defRPr sz="1731" kern="1200">
          <a:solidFill>
            <a:srgbClr val="000066"/>
          </a:solidFill>
          <a:latin typeface="+mn-lt"/>
          <a:ea typeface="+mn-ea"/>
          <a:cs typeface="+mn-cs"/>
        </a:defRPr>
      </a:lvl2pPr>
      <a:lvl3pPr marL="1034345" indent="-222218" algn="l" defTabSz="752563" rtl="0" eaLnBrk="1" fontAlgn="base" hangingPunct="1">
        <a:spcBef>
          <a:spcPct val="20000"/>
        </a:spcBef>
        <a:spcAft>
          <a:spcPct val="0"/>
        </a:spcAft>
        <a:buClr>
          <a:srgbClr val="1E7FB8"/>
        </a:buClr>
        <a:buChar char="•"/>
        <a:defRPr sz="1731" kern="1200">
          <a:solidFill>
            <a:srgbClr val="000066"/>
          </a:solidFill>
          <a:latin typeface="Arial Narrow" panose="020B0606020202030204" pitchFamily="34" charset="0"/>
          <a:ea typeface="+mn-ea"/>
          <a:cs typeface="+mn-cs"/>
        </a:defRPr>
      </a:lvl3pPr>
      <a:lvl4pPr marL="1369963" indent="-186710" algn="l" defTabSz="752563" rtl="0" eaLnBrk="1" fontAlgn="base" hangingPunct="1">
        <a:spcBef>
          <a:spcPct val="20000"/>
        </a:spcBef>
        <a:spcAft>
          <a:spcPct val="0"/>
        </a:spcAft>
        <a:buClr>
          <a:srgbClr val="1E7FB8"/>
        </a:buClr>
        <a:buChar char="–"/>
        <a:defRPr sz="1731" kern="1200">
          <a:solidFill>
            <a:srgbClr val="000066"/>
          </a:solidFill>
          <a:latin typeface="Arial Narrow" panose="020B0606020202030204" pitchFamily="34" charset="0"/>
          <a:ea typeface="+mn-ea"/>
          <a:cs typeface="+mn-cs"/>
        </a:defRPr>
      </a:lvl4pPr>
      <a:lvl5pPr marL="1636853" indent="-119127" algn="r" defTabSz="752563" rtl="1" eaLnBrk="1" fontAlgn="base" hangingPunct="1">
        <a:spcBef>
          <a:spcPct val="20000"/>
        </a:spcBef>
        <a:spcAft>
          <a:spcPct val="0"/>
        </a:spcAft>
        <a:buChar char="»"/>
        <a:defRPr sz="1660" kern="1200">
          <a:solidFill>
            <a:srgbClr val="000066"/>
          </a:solidFill>
          <a:latin typeface="+mn-lt"/>
          <a:ea typeface="+mn-ea"/>
          <a:cs typeface="+mn-cs"/>
        </a:defRPr>
      </a:lvl5pPr>
      <a:lvl6pPr marL="1814398" indent="-164945" algn="l" defTabSz="659782" rtl="0" eaLnBrk="1" latinLnBrk="0" hangingPunct="1">
        <a:lnSpc>
          <a:spcPct val="90000"/>
        </a:lnSpc>
        <a:spcBef>
          <a:spcPts val="361"/>
        </a:spcBef>
        <a:buFont typeface="Arial" panose="020B0604020202020204" pitchFamily="34" charset="0"/>
        <a:buChar char="•"/>
        <a:defRPr sz="1299" kern="1200">
          <a:solidFill>
            <a:schemeClr val="tx1"/>
          </a:solidFill>
          <a:latin typeface="+mn-lt"/>
          <a:ea typeface="+mn-ea"/>
          <a:cs typeface="+mn-cs"/>
        </a:defRPr>
      </a:lvl6pPr>
      <a:lvl7pPr marL="2144289" indent="-164945" algn="l" defTabSz="659782" rtl="0" eaLnBrk="1" latinLnBrk="0" hangingPunct="1">
        <a:lnSpc>
          <a:spcPct val="90000"/>
        </a:lnSpc>
        <a:spcBef>
          <a:spcPts val="361"/>
        </a:spcBef>
        <a:buFont typeface="Arial" panose="020B0604020202020204" pitchFamily="34" charset="0"/>
        <a:buChar char="•"/>
        <a:defRPr sz="1299" kern="1200">
          <a:solidFill>
            <a:schemeClr val="tx1"/>
          </a:solidFill>
          <a:latin typeface="+mn-lt"/>
          <a:ea typeface="+mn-ea"/>
          <a:cs typeface="+mn-cs"/>
        </a:defRPr>
      </a:lvl7pPr>
      <a:lvl8pPr marL="2474179" indent="-164945" algn="l" defTabSz="659782" rtl="0" eaLnBrk="1" latinLnBrk="0" hangingPunct="1">
        <a:lnSpc>
          <a:spcPct val="90000"/>
        </a:lnSpc>
        <a:spcBef>
          <a:spcPts val="361"/>
        </a:spcBef>
        <a:buFont typeface="Arial" panose="020B0604020202020204" pitchFamily="34" charset="0"/>
        <a:buChar char="•"/>
        <a:defRPr sz="1299" kern="1200">
          <a:solidFill>
            <a:schemeClr val="tx1"/>
          </a:solidFill>
          <a:latin typeface="+mn-lt"/>
          <a:ea typeface="+mn-ea"/>
          <a:cs typeface="+mn-cs"/>
        </a:defRPr>
      </a:lvl8pPr>
      <a:lvl9pPr marL="2804069" indent="-164945" algn="l" defTabSz="659782" rtl="0" eaLnBrk="1" latinLnBrk="0" hangingPunct="1">
        <a:lnSpc>
          <a:spcPct val="90000"/>
        </a:lnSpc>
        <a:spcBef>
          <a:spcPts val="361"/>
        </a:spcBef>
        <a:buFont typeface="Arial" panose="020B0604020202020204" pitchFamily="34" charset="0"/>
        <a:buChar char="•"/>
        <a:defRPr sz="12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9782" rtl="0" eaLnBrk="1" latinLnBrk="0" hangingPunct="1">
        <a:defRPr sz="1299" kern="1200">
          <a:solidFill>
            <a:schemeClr val="tx1"/>
          </a:solidFill>
          <a:latin typeface="+mn-lt"/>
          <a:ea typeface="+mn-ea"/>
          <a:cs typeface="+mn-cs"/>
        </a:defRPr>
      </a:lvl1pPr>
      <a:lvl2pPr marL="329890" algn="l" defTabSz="659782" rtl="0" eaLnBrk="1" latinLnBrk="0" hangingPunct="1">
        <a:defRPr sz="1299" kern="1200">
          <a:solidFill>
            <a:schemeClr val="tx1"/>
          </a:solidFill>
          <a:latin typeface="+mn-lt"/>
          <a:ea typeface="+mn-ea"/>
          <a:cs typeface="+mn-cs"/>
        </a:defRPr>
      </a:lvl2pPr>
      <a:lvl3pPr marL="659782" algn="l" defTabSz="659782" rtl="0" eaLnBrk="1" latinLnBrk="0" hangingPunct="1">
        <a:defRPr sz="1299" kern="1200">
          <a:solidFill>
            <a:schemeClr val="tx1"/>
          </a:solidFill>
          <a:latin typeface="+mn-lt"/>
          <a:ea typeface="+mn-ea"/>
          <a:cs typeface="+mn-cs"/>
        </a:defRPr>
      </a:lvl3pPr>
      <a:lvl4pPr marL="989671" algn="l" defTabSz="659782" rtl="0" eaLnBrk="1" latinLnBrk="0" hangingPunct="1">
        <a:defRPr sz="1299" kern="1200">
          <a:solidFill>
            <a:schemeClr val="tx1"/>
          </a:solidFill>
          <a:latin typeface="+mn-lt"/>
          <a:ea typeface="+mn-ea"/>
          <a:cs typeface="+mn-cs"/>
        </a:defRPr>
      </a:lvl4pPr>
      <a:lvl5pPr marL="1319563" algn="l" defTabSz="659782" rtl="0" eaLnBrk="1" latinLnBrk="0" hangingPunct="1">
        <a:defRPr sz="1299" kern="1200">
          <a:solidFill>
            <a:schemeClr val="tx1"/>
          </a:solidFill>
          <a:latin typeface="+mn-lt"/>
          <a:ea typeface="+mn-ea"/>
          <a:cs typeface="+mn-cs"/>
        </a:defRPr>
      </a:lvl5pPr>
      <a:lvl6pPr marL="1649453" algn="l" defTabSz="659782" rtl="0" eaLnBrk="1" latinLnBrk="0" hangingPunct="1">
        <a:defRPr sz="1299" kern="1200">
          <a:solidFill>
            <a:schemeClr val="tx1"/>
          </a:solidFill>
          <a:latin typeface="+mn-lt"/>
          <a:ea typeface="+mn-ea"/>
          <a:cs typeface="+mn-cs"/>
        </a:defRPr>
      </a:lvl6pPr>
      <a:lvl7pPr marL="1979343" algn="l" defTabSz="659782" rtl="0" eaLnBrk="1" latinLnBrk="0" hangingPunct="1">
        <a:defRPr sz="1299" kern="1200">
          <a:solidFill>
            <a:schemeClr val="tx1"/>
          </a:solidFill>
          <a:latin typeface="+mn-lt"/>
          <a:ea typeface="+mn-ea"/>
          <a:cs typeface="+mn-cs"/>
        </a:defRPr>
      </a:lvl7pPr>
      <a:lvl8pPr marL="2309234" algn="l" defTabSz="659782" rtl="0" eaLnBrk="1" latinLnBrk="0" hangingPunct="1">
        <a:defRPr sz="1299" kern="1200">
          <a:solidFill>
            <a:schemeClr val="tx1"/>
          </a:solidFill>
          <a:latin typeface="+mn-lt"/>
          <a:ea typeface="+mn-ea"/>
          <a:cs typeface="+mn-cs"/>
        </a:defRPr>
      </a:lvl8pPr>
      <a:lvl9pPr marL="2639124" algn="l" defTabSz="659782" rtl="0" eaLnBrk="1" latinLnBrk="0" hangingPunct="1">
        <a:defRPr sz="12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92DC55-D5BC-4329-9FB5-1347920A4E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26" name="Title Placeholder 1">
            <a:extLst>
              <a:ext uri="{FF2B5EF4-FFF2-40B4-BE49-F238E27FC236}">
                <a16:creationId xmlns:a16="http://schemas.microsoft.com/office/drawing/2014/main" id="{3AADC030-D5CB-4510-84FE-C68430415D4A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2">
            <a:extLst>
              <a:ext uri="{FF2B5EF4-FFF2-40B4-BE49-F238E27FC236}">
                <a16:creationId xmlns:a16="http://schemas.microsoft.com/office/drawing/2014/main" id="{40738A13-9DCF-4CA4-919B-EDC962585E05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486034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8" r:id="rId1"/>
    <p:sldLayoutId id="2147484020" r:id="rId2"/>
    <p:sldLayoutId id="2147484021" r:id="rId3"/>
    <p:sldLayoutId id="2147484022" r:id="rId4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kern="1200">
          <a:solidFill>
            <a:srgbClr val="E2722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78.xml"/><Relationship Id="rId1" Type="http://schemas.openxmlformats.org/officeDocument/2006/relationships/themeOverride" Target="../theme/themeOverride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84.xml"/><Relationship Id="rId6" Type="http://schemas.openxmlformats.org/officeDocument/2006/relationships/image" Target="../media/image26.png"/><Relationship Id="rId5" Type="http://schemas.openxmlformats.org/officeDocument/2006/relationships/image" Target="../media/image18.png"/><Relationship Id="rId4" Type="http://schemas.openxmlformats.org/officeDocument/2006/relationships/image" Target="../media/image25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4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6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slideLayout" Target="../slideLayouts/slideLayout79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79.xml"/><Relationship Id="rId1" Type="http://schemas.openxmlformats.org/officeDocument/2006/relationships/themeOverride" Target="../theme/themeOverride3.xml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notesSlide" Target="../notesSlides/notesSlide2.xml"/><Relationship Id="rId7" Type="http://schemas.openxmlformats.org/officeDocument/2006/relationships/diagramColors" Target="../diagrams/colors1.xml"/><Relationship Id="rId2" Type="http://schemas.openxmlformats.org/officeDocument/2006/relationships/slideLayout" Target="../slideLayouts/slideLayout78.xml"/><Relationship Id="rId1" Type="http://schemas.openxmlformats.org/officeDocument/2006/relationships/themeOverride" Target="../theme/themeOverride4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10" Type="http://schemas.openxmlformats.org/officeDocument/2006/relationships/image" Target="../media/image21.png"/><Relationship Id="rId4" Type="http://schemas.openxmlformats.org/officeDocument/2006/relationships/diagramData" Target="../diagrams/data1.xml"/><Relationship Id="rId9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78.xml"/><Relationship Id="rId1" Type="http://schemas.openxmlformats.org/officeDocument/2006/relationships/themeOverride" Target="../theme/themeOverride5.xml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04812C46-200A-4DEB-A05E-3ED6C68C23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" name="Picture 3" descr="A collage of different people&#10;&#10;Description automatically generated with medium confidence">
            <a:extLst>
              <a:ext uri="{FF2B5EF4-FFF2-40B4-BE49-F238E27FC236}">
                <a16:creationId xmlns:a16="http://schemas.microsoft.com/office/drawing/2014/main" id="{26D9207D-3A8F-43E7-9018-757CF0581F7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7961" b="2"/>
          <a:stretch/>
        </p:blipFill>
        <p:spPr>
          <a:xfrm>
            <a:off x="1" y="10"/>
            <a:ext cx="6936390" cy="6857990"/>
          </a:xfrm>
          <a:prstGeom prst="rect">
            <a:avLst/>
          </a:prstGeom>
        </p:spPr>
      </p:pic>
      <p:sp>
        <p:nvSpPr>
          <p:cNvPr id="12" name="Subtitle 2">
            <a:extLst>
              <a:ext uri="{FF2B5EF4-FFF2-40B4-BE49-F238E27FC236}">
                <a16:creationId xmlns:a16="http://schemas.microsoft.com/office/drawing/2014/main" id="{22EC6801-59F7-4DAE-AD62-9395FCF78B30}"/>
              </a:ext>
            </a:extLst>
          </p:cNvPr>
          <p:cNvSpPr txBox="1">
            <a:spLocks/>
          </p:cNvSpPr>
          <p:nvPr/>
        </p:nvSpPr>
        <p:spPr>
          <a:xfrm>
            <a:off x="6936389" y="3718561"/>
            <a:ext cx="5255612" cy="1060046"/>
          </a:xfrm>
          <a:prstGeom prst="rect">
            <a:avLst/>
          </a:prstGeom>
          <a:solidFill>
            <a:schemeClr val="accent1"/>
          </a:solidFill>
        </p:spPr>
        <p:txBody>
          <a:bodyPr wrap="square" numCol="1" anchor="ctr" anchorCtr="0" compatLnSpc="1">
            <a:prstTxWarp prst="textNoShape">
              <a:avLst/>
            </a:prstTxWarp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bg1"/>
              </a:buClr>
              <a:buSzPct val="80000"/>
              <a:buFontTx/>
              <a:buNone/>
              <a:defRPr sz="1400" b="0" kern="1200">
                <a:solidFill>
                  <a:schemeClr val="bg1"/>
                </a:solidFill>
                <a:latin typeface="+mn-lt"/>
                <a:ea typeface="+mn-ea"/>
                <a:cs typeface="Times New Roman" panose="02020603050405020304" pitchFamily="18" charset="0"/>
              </a:defRPr>
            </a:lvl1pPr>
            <a:lvl2pPr marL="466725" indent="-28575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27087" indent="-28575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179513" indent="-28575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tabLst>
                <a:tab pos="1074738" algn="l"/>
              </a:tabLst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616075" indent="-358775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062163" indent="-358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white"/>
              </a:buClr>
              <a:buSzPct val="80000"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ole Ameya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white"/>
              </a:buClr>
              <a:buSzPct val="80000"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lobal HIV, Hepatitis and Sexually Transmitted Infections Programme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white"/>
              </a:buClr>
              <a:buSzPct val="80000"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orld Health Organization HQ</a:t>
            </a:r>
            <a:endParaRPr kumimoji="0" lang="en-US" alt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39F5AC05-EE58-4914-B872-C9078B7E67BE}"/>
              </a:ext>
            </a:extLst>
          </p:cNvPr>
          <p:cNvSpPr txBox="1">
            <a:spLocks/>
          </p:cNvSpPr>
          <p:nvPr/>
        </p:nvSpPr>
        <p:spPr>
          <a:xfrm>
            <a:off x="6936388" y="530873"/>
            <a:ext cx="5255612" cy="2353271"/>
          </a:xfrm>
          <a:prstGeom prst="rect">
            <a:avLst/>
          </a:prstGeom>
          <a:solidFill>
            <a:srgbClr val="0070C0"/>
          </a:solidFill>
        </p:spPr>
        <p:txBody>
          <a:bodyPr wrap="square" numCol="1" anchor="ctr" anchorCtr="0" compatLnSpc="1">
            <a:prstTxWarp prst="textNoShape">
              <a:avLst/>
            </a:prstTxWarp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bg1"/>
              </a:buClr>
              <a:buSzPct val="80000"/>
              <a:buFontTx/>
              <a:buNone/>
              <a:defRPr sz="1400" b="0" kern="1200">
                <a:solidFill>
                  <a:schemeClr val="bg1"/>
                </a:solidFill>
                <a:latin typeface="+mn-lt"/>
                <a:ea typeface="+mn-ea"/>
                <a:cs typeface="Times New Roman" panose="02020603050405020304" pitchFamily="18" charset="0"/>
              </a:defRPr>
            </a:lvl1pPr>
            <a:lvl2pPr marL="466725" indent="-28575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27087" indent="-28575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179513" indent="-28575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tabLst>
                <a:tab pos="1074738" algn="l"/>
              </a:tabLst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616075" indent="-358775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062163" indent="-358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prstClr val="black"/>
              </a:buClr>
              <a:buSzPct val="80000"/>
              <a:buFontTx/>
              <a:buNone/>
              <a:tabLst/>
              <a:defRPr/>
            </a:pPr>
            <a:r>
              <a:rPr kumimoji="0" lang="en-US" alt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lobal HIV Prevention Coalition WG meeting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prstClr val="black"/>
              </a:buClr>
              <a:buSzPct val="80000"/>
              <a:buFontTx/>
              <a:buNone/>
              <a:tabLst/>
              <a:defRPr/>
            </a:pPr>
            <a:endParaRPr lang="en-US" altLang="en-US" sz="28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prstClr val="black"/>
              </a:buClr>
              <a:buSzPct val="80000"/>
              <a:buFontTx/>
              <a:buNone/>
              <a:tabLst/>
              <a:defRPr/>
            </a:pPr>
            <a:r>
              <a:rPr kumimoji="0" lang="en-US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dvancing HIV Prevention testing and treatment with boys and me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E02809B-9245-4BFB-9891-6EA347802F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96656" y="5613023"/>
            <a:ext cx="3176291" cy="1109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98857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19CFD920-8A21-4BB7-9B03-C76C87E92644}"/>
              </a:ext>
            </a:extLst>
          </p:cNvPr>
          <p:cNvSpPr txBox="1"/>
          <p:nvPr/>
        </p:nvSpPr>
        <p:spPr>
          <a:xfrm>
            <a:off x="80104" y="4536869"/>
            <a:ext cx="6268445" cy="58477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>
              <a:defRPr sz="1600">
                <a:solidFill>
                  <a:prstClr val="black"/>
                </a:solidFill>
                <a:latin typeface="AvenirLT-Black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LT-Black"/>
                <a:ea typeface="+mn-ea"/>
                <a:cs typeface="+mn-cs"/>
              </a:rPr>
              <a:t>Kathryn Dovel </a:t>
            </a:r>
            <a:r>
              <a:rPr kumimoji="0" lang="en-GB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LT-Black"/>
                <a:ea typeface="+mn-ea"/>
                <a:cs typeface="+mn-cs"/>
              </a:rPr>
              <a:t>et al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LT-Black"/>
                <a:ea typeface="+mn-ea"/>
                <a:cs typeface="+mn-cs"/>
              </a:rPr>
              <a:t>., 2021,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LT-Black"/>
                <a:ea typeface="+mn-ea"/>
                <a:cs typeface="+mn-cs"/>
              </a:rPr>
              <a:t>Frequency of visits to health facilities and HIV services offered to men, Malawi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2385924-2C7B-41D2-9037-666943B73620}"/>
              </a:ext>
            </a:extLst>
          </p:cNvPr>
          <p:cNvSpPr txBox="1"/>
          <p:nvPr/>
        </p:nvSpPr>
        <p:spPr>
          <a:xfrm>
            <a:off x="7261495" y="862900"/>
            <a:ext cx="4850401" cy="4154984"/>
          </a:xfrm>
          <a:prstGeom prst="rect">
            <a:avLst/>
          </a:prstGeom>
          <a:solidFill>
            <a:srgbClr val="0070C0"/>
          </a:solidFill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n do seek health services. Question is, are health systems designed to receive men?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 all the men in study, 85% of those offered testing accepte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mong men in need of HIV testing who had attended a health facility, only 7% were offered HIV testing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ghlights missed opportunities missed opportunities to reach men already engaged with the health system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5D360FA-52D7-40D1-8BC5-8B34658195FC}"/>
              </a:ext>
            </a:extLst>
          </p:cNvPr>
          <p:cNvSpPr txBox="1"/>
          <p:nvPr/>
        </p:nvSpPr>
        <p:spPr>
          <a:xfrm>
            <a:off x="80105" y="5377196"/>
            <a:ext cx="1211189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liberate efforts to offer screening services to men should be prioritized as could improve programmatic efficiencies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6D5E25E-A4DD-4068-8AE7-A535ADA58572}"/>
              </a:ext>
            </a:extLst>
          </p:cNvPr>
          <p:cNvGrpSpPr/>
          <p:nvPr/>
        </p:nvGrpSpPr>
        <p:grpSpPr>
          <a:xfrm>
            <a:off x="132885" y="838135"/>
            <a:ext cx="7413009" cy="3501999"/>
            <a:chOff x="297709" y="1134470"/>
            <a:chExt cx="7413009" cy="3501999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173A9B16-2119-4E85-8B18-CCE644113AEA}"/>
                </a:ext>
              </a:extLst>
            </p:cNvPr>
            <p:cNvGrpSpPr/>
            <p:nvPr/>
          </p:nvGrpSpPr>
          <p:grpSpPr>
            <a:xfrm>
              <a:off x="297709" y="1832929"/>
              <a:ext cx="4671906" cy="2803540"/>
              <a:chOff x="619804" y="1210382"/>
              <a:chExt cx="4671906" cy="2803540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45D63360-AC7B-4B53-8C06-CC8D64D69C6F}"/>
                  </a:ext>
                </a:extLst>
              </p:cNvPr>
              <p:cNvSpPr/>
              <p:nvPr/>
            </p:nvSpPr>
            <p:spPr>
              <a:xfrm>
                <a:off x="619804" y="1210382"/>
                <a:ext cx="2013858" cy="2744723"/>
              </a:xfrm>
              <a:prstGeom prst="rect">
                <a:avLst/>
              </a:prstGeom>
              <a:solidFill>
                <a:srgbClr val="00206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518C1C5A-952A-4A97-A538-5332F6034BF6}"/>
                  </a:ext>
                </a:extLst>
              </p:cNvPr>
              <p:cNvSpPr/>
              <p:nvPr/>
            </p:nvSpPr>
            <p:spPr>
              <a:xfrm>
                <a:off x="630469" y="1450154"/>
                <a:ext cx="1828802" cy="2481941"/>
              </a:xfrm>
              <a:prstGeom prst="rect">
                <a:avLst/>
              </a:prstGeom>
              <a:solidFill>
                <a:srgbClr val="0070C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16AE2F05-AF4E-4625-9A21-DD024B83AF28}"/>
                  </a:ext>
                </a:extLst>
              </p:cNvPr>
              <p:cNvSpPr/>
              <p:nvPr/>
            </p:nvSpPr>
            <p:spPr>
              <a:xfrm>
                <a:off x="630469" y="2745553"/>
                <a:ext cx="838202" cy="1186542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861B044C-E025-4431-A19C-6D82622267E3}"/>
                  </a:ext>
                </a:extLst>
              </p:cNvPr>
              <p:cNvSpPr/>
              <p:nvPr/>
            </p:nvSpPr>
            <p:spPr>
              <a:xfrm>
                <a:off x="634659" y="2887458"/>
                <a:ext cx="707571" cy="1044637"/>
              </a:xfrm>
              <a:prstGeom prst="rect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D48FFD78-3D36-4C4C-A028-A3706D7F7F08}"/>
                  </a:ext>
                </a:extLst>
              </p:cNvPr>
              <p:cNvSpPr/>
              <p:nvPr/>
            </p:nvSpPr>
            <p:spPr>
              <a:xfrm>
                <a:off x="3277852" y="1269199"/>
                <a:ext cx="2013858" cy="2744723"/>
              </a:xfrm>
              <a:prstGeom prst="rect">
                <a:avLst/>
              </a:prstGeom>
              <a:solidFill>
                <a:srgbClr val="00206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BB20C670-B6EE-481F-B683-16D5796BB34E}"/>
                  </a:ext>
                </a:extLst>
              </p:cNvPr>
              <p:cNvSpPr/>
              <p:nvPr/>
            </p:nvSpPr>
            <p:spPr>
              <a:xfrm>
                <a:off x="3288517" y="1508971"/>
                <a:ext cx="1828802" cy="2481941"/>
              </a:xfrm>
              <a:prstGeom prst="rect">
                <a:avLst/>
              </a:prstGeom>
              <a:solidFill>
                <a:srgbClr val="0070C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504AB840-5598-4E34-99AC-090071619656}"/>
                  </a:ext>
                </a:extLst>
              </p:cNvPr>
              <p:cNvSpPr/>
              <p:nvPr/>
            </p:nvSpPr>
            <p:spPr>
              <a:xfrm>
                <a:off x="3288517" y="3429000"/>
                <a:ext cx="728312" cy="561912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3694DEA4-F894-4A9E-83EE-4819A061A41C}"/>
                </a:ext>
              </a:extLst>
            </p:cNvPr>
            <p:cNvGrpSpPr/>
            <p:nvPr/>
          </p:nvGrpSpPr>
          <p:grpSpPr>
            <a:xfrm>
              <a:off x="297709" y="1134470"/>
              <a:ext cx="4671906" cy="584775"/>
              <a:chOff x="297709" y="1134470"/>
              <a:chExt cx="4671906" cy="584775"/>
            </a:xfrm>
          </p:grpSpPr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C82347F7-7F33-4F37-A0DF-B272ECF0BD3B}"/>
                  </a:ext>
                </a:extLst>
              </p:cNvPr>
              <p:cNvSpPr txBox="1"/>
              <p:nvPr/>
            </p:nvSpPr>
            <p:spPr>
              <a:xfrm>
                <a:off x="297709" y="1134470"/>
                <a:ext cx="2013858" cy="584775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t">
                <a:spAutoFit/>
              </a:bodyPr>
              <a:lstStyle>
                <a:defPPr>
                  <a:defRPr lang="en-US"/>
                </a:defPPr>
                <a:lvl1pPr>
                  <a:defRPr sz="1600">
                    <a:solidFill>
                      <a:prstClr val="black"/>
                    </a:solidFill>
                    <a:latin typeface="AvenirLT-Black"/>
                  </a:defRPr>
                </a:lvl1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venirLT-Black"/>
                    <a:ea typeface="+mn-ea"/>
                    <a:cs typeface="+mn-cs"/>
                  </a:rPr>
                  <a:t>All men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1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venirLT-Black"/>
                    <a:ea typeface="+mn-ea"/>
                    <a:cs typeface="+mn-cs"/>
                  </a:rPr>
                  <a:t>(n – 1116)</a:t>
                </a: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DDB5320E-A187-44C4-8372-717844F9B36C}"/>
                  </a:ext>
                </a:extLst>
              </p:cNvPr>
              <p:cNvSpPr txBox="1"/>
              <p:nvPr/>
            </p:nvSpPr>
            <p:spPr>
              <a:xfrm>
                <a:off x="2732314" y="1134470"/>
                <a:ext cx="2237301" cy="584775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t">
                <a:spAutoFit/>
              </a:bodyPr>
              <a:lstStyle>
                <a:defPPr>
                  <a:defRPr lang="en-US"/>
                </a:defPPr>
                <a:lvl1pPr>
                  <a:defRPr sz="1600">
                    <a:solidFill>
                      <a:prstClr val="black"/>
                    </a:solidFill>
                    <a:latin typeface="AvenirLT-Black"/>
                  </a:defRPr>
                </a:lvl1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venirLT-Black"/>
                    <a:ea typeface="+mn-ea"/>
                    <a:cs typeface="+mn-cs"/>
                  </a:rPr>
                  <a:t>Men needing HIV testing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1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venirLT-Black"/>
                    <a:ea typeface="+mn-ea"/>
                    <a:cs typeface="+mn-cs"/>
                  </a:rPr>
                  <a:t>(n –617)</a:t>
                </a:r>
              </a:p>
            </p:txBody>
          </p: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0071B6E5-7F89-4FAD-A09B-E75E85E7EFFD}"/>
                </a:ext>
              </a:extLst>
            </p:cNvPr>
            <p:cNvGrpSpPr/>
            <p:nvPr/>
          </p:nvGrpSpPr>
          <p:grpSpPr>
            <a:xfrm>
              <a:off x="5180436" y="2064413"/>
              <a:ext cx="2530282" cy="1912151"/>
              <a:chOff x="5180436" y="2064413"/>
              <a:chExt cx="2530282" cy="1912151"/>
            </a:xfrm>
          </p:grpSpPr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1B8E3C14-ADAF-4CBE-A70F-A84A635BD359}"/>
                  </a:ext>
                </a:extLst>
              </p:cNvPr>
              <p:cNvSpPr/>
              <p:nvPr/>
            </p:nvSpPr>
            <p:spPr>
              <a:xfrm>
                <a:off x="5180436" y="3533712"/>
                <a:ext cx="291853" cy="275836"/>
              </a:xfrm>
              <a:prstGeom prst="rect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DF42AA89-01D0-4F9E-92AF-A72826C3570C}"/>
                  </a:ext>
                </a:extLst>
              </p:cNvPr>
              <p:cNvSpPr/>
              <p:nvPr/>
            </p:nvSpPr>
            <p:spPr>
              <a:xfrm>
                <a:off x="5180436" y="3016811"/>
                <a:ext cx="291853" cy="275836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C5EE07D2-F113-4D66-889B-2457E5C24CC1}"/>
                  </a:ext>
                </a:extLst>
              </p:cNvPr>
              <p:cNvSpPr/>
              <p:nvPr/>
            </p:nvSpPr>
            <p:spPr>
              <a:xfrm>
                <a:off x="5180436" y="2558612"/>
                <a:ext cx="291853" cy="275836"/>
              </a:xfrm>
              <a:prstGeom prst="rect">
                <a:avLst/>
              </a:prstGeom>
              <a:solidFill>
                <a:srgbClr val="0070C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C226015A-CEB7-4163-B26E-E9F88EE14CA5}"/>
                  </a:ext>
                </a:extLst>
              </p:cNvPr>
              <p:cNvSpPr/>
              <p:nvPr/>
            </p:nvSpPr>
            <p:spPr>
              <a:xfrm>
                <a:off x="5180436" y="2106732"/>
                <a:ext cx="291853" cy="275836"/>
              </a:xfrm>
              <a:prstGeom prst="rect">
                <a:avLst/>
              </a:prstGeom>
              <a:solidFill>
                <a:srgbClr val="00206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E480F1C6-06F0-4D45-974B-C74D37E0085F}"/>
                  </a:ext>
                </a:extLst>
              </p:cNvPr>
              <p:cNvSpPr txBox="1"/>
              <p:nvPr/>
            </p:nvSpPr>
            <p:spPr>
              <a:xfrm>
                <a:off x="5472289" y="2064413"/>
                <a:ext cx="2202140" cy="307777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t">
                <a:spAutoFit/>
              </a:bodyPr>
              <a:lstStyle>
                <a:defPPr>
                  <a:defRPr lang="en-US"/>
                </a:defPPr>
                <a:lvl1pPr>
                  <a:defRPr sz="1600">
                    <a:solidFill>
                      <a:prstClr val="black"/>
                    </a:solidFill>
                    <a:latin typeface="AvenirLT-Black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venirLT-Black"/>
                    <a:ea typeface="+mn-ea"/>
                    <a:cs typeface="+mn-cs"/>
                  </a:rPr>
                  <a:t>Study population</a:t>
                </a:r>
                <a:endParaRPr kumimoji="0" lang="en-US" sz="14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venirLT-Black"/>
                  <a:ea typeface="+mn-ea"/>
                  <a:cs typeface="+mn-cs"/>
                </a:endParaRPr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BCE38CB9-F518-4F45-9D89-828CAAF5A29E}"/>
                  </a:ext>
                </a:extLst>
              </p:cNvPr>
              <p:cNvSpPr txBox="1"/>
              <p:nvPr/>
            </p:nvSpPr>
            <p:spPr>
              <a:xfrm>
                <a:off x="5472289" y="2455576"/>
                <a:ext cx="2202140" cy="307777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t">
                <a:spAutoFit/>
              </a:bodyPr>
              <a:lstStyle>
                <a:defPPr>
                  <a:defRPr lang="en-US"/>
                </a:defPPr>
                <a:lvl1pPr>
                  <a:defRPr sz="1600">
                    <a:solidFill>
                      <a:prstClr val="black"/>
                    </a:solidFill>
                    <a:latin typeface="AvenirLT-Black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venirLT-Black"/>
                    <a:ea typeface="+mn-ea"/>
                    <a:cs typeface="+mn-cs"/>
                  </a:rPr>
                  <a:t>Made a facility visit</a:t>
                </a:r>
                <a:endParaRPr kumimoji="0" lang="en-US" sz="14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venirLT-Black"/>
                  <a:ea typeface="+mn-ea"/>
                  <a:cs typeface="+mn-cs"/>
                </a:endParaRPr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F3FA498B-1760-4341-B5B6-41098EE30B8D}"/>
                  </a:ext>
                </a:extLst>
              </p:cNvPr>
              <p:cNvSpPr txBox="1"/>
              <p:nvPr/>
            </p:nvSpPr>
            <p:spPr>
              <a:xfrm>
                <a:off x="5472289" y="2846739"/>
                <a:ext cx="2202140" cy="523220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t">
                <a:spAutoFit/>
              </a:bodyPr>
              <a:lstStyle>
                <a:defPPr>
                  <a:defRPr lang="en-US"/>
                </a:defPPr>
                <a:lvl1pPr>
                  <a:defRPr sz="1600">
                    <a:solidFill>
                      <a:prstClr val="black"/>
                    </a:solidFill>
                    <a:latin typeface="AvenirLT-Black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venirLT-Black"/>
                    <a:ea typeface="+mn-ea"/>
                    <a:cs typeface="+mn-cs"/>
                  </a:rPr>
                  <a:t>Offered HIV test during a facility visit</a:t>
                </a:r>
                <a:endParaRPr kumimoji="0" lang="en-US" sz="14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venirLT-Black"/>
                  <a:ea typeface="+mn-ea"/>
                  <a:cs typeface="+mn-cs"/>
                </a:endParaRP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A09CED0D-53FB-457A-85B5-4220D76A132E}"/>
                  </a:ext>
                </a:extLst>
              </p:cNvPr>
              <p:cNvSpPr txBox="1"/>
              <p:nvPr/>
            </p:nvSpPr>
            <p:spPr>
              <a:xfrm>
                <a:off x="5508578" y="3453344"/>
                <a:ext cx="2202140" cy="523220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t">
                <a:spAutoFit/>
              </a:bodyPr>
              <a:lstStyle>
                <a:defPPr>
                  <a:defRPr lang="en-US"/>
                </a:defPPr>
                <a:lvl1pPr>
                  <a:defRPr sz="1600">
                    <a:solidFill>
                      <a:prstClr val="black"/>
                    </a:solidFill>
                    <a:latin typeface="AvenirLT-Black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venirLT-Black"/>
                    <a:ea typeface="+mn-ea"/>
                    <a:cs typeface="+mn-cs"/>
                  </a:rPr>
                  <a:t>Tested for HIV during a facility visit</a:t>
                </a:r>
                <a:endParaRPr kumimoji="0" lang="en-US" sz="14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venirLT-Black"/>
                  <a:ea typeface="+mn-ea"/>
                  <a:cs typeface="+mn-cs"/>
                </a:endParaRPr>
              </a:p>
            </p:txBody>
          </p:sp>
        </p:grpSp>
      </p:grp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DD8956F6-3A6B-4BBC-81AD-0323A5691618}"/>
              </a:ext>
            </a:extLst>
          </p:cNvPr>
          <p:cNvSpPr txBox="1">
            <a:spLocks/>
          </p:cNvSpPr>
          <p:nvPr/>
        </p:nvSpPr>
        <p:spPr>
          <a:xfrm>
            <a:off x="0" y="52427"/>
            <a:ext cx="12191999" cy="415498"/>
          </a:xfrm>
          <a:prstGeom prst="rect">
            <a:avLst/>
          </a:prstGeom>
          <a:solidFill>
            <a:srgbClr val="0070C0"/>
          </a:solidFill>
        </p:spPr>
        <p:txBody>
          <a:bodyPr vert="horz" wrap="square" lIns="182880" tIns="91440" rIns="182880" bIns="45720" rtlCol="0" anchor="ctr" anchorCtr="1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600" b="1" i="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</a:rPr>
              <a:t>How to act? Changing the narrative - Poor health seekers or poor health services?</a:t>
            </a:r>
            <a:endParaRPr kumimoji="0" lang="en-GB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866725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A22C0AA-01A7-4B2E-BD58-56586B3CA0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4872" y="4432663"/>
            <a:ext cx="1624196" cy="2290794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AA322DAF-24A0-4E11-9C67-A3055D4739F2}"/>
              </a:ext>
            </a:extLst>
          </p:cNvPr>
          <p:cNvSpPr txBox="1"/>
          <p:nvPr/>
        </p:nvSpPr>
        <p:spPr>
          <a:xfrm>
            <a:off x="0" y="4608"/>
            <a:ext cx="12192000" cy="523220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pPr marL="0" marR="0" lvl="0" indent="0" algn="l" defTabSz="7275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Arial" panose="020B0604020202020204" pitchFamily="34" charset="0"/>
              </a:rPr>
              <a:t>Coming up! A framework for engaging men with evidence-based interventions!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DC4E262-13F9-4D14-B9E4-0A26ADD9E5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004" y="1091484"/>
            <a:ext cx="7315200" cy="2962275"/>
          </a:xfrm>
          <a:prstGeom prst="rect">
            <a:avLst/>
          </a:prstGeom>
          <a:ln>
            <a:solidFill>
              <a:srgbClr val="C00000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65C4252-3E9C-4B19-8104-F27D28F3339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18956" y="820134"/>
            <a:ext cx="4673044" cy="3233625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95FABA66-8026-4D39-872C-F1C20839C5BD}"/>
              </a:ext>
            </a:extLst>
          </p:cNvPr>
          <p:cNvSpPr txBox="1"/>
          <p:nvPr/>
        </p:nvSpPr>
        <p:spPr>
          <a:xfrm>
            <a:off x="5698761" y="4178553"/>
            <a:ext cx="6083935" cy="1708160"/>
          </a:xfrm>
          <a:prstGeom prst="rect">
            <a:avLst/>
          </a:prstGeom>
          <a:solidFill>
            <a:srgbClr val="0E80C9">
              <a:lumMod val="40000"/>
              <a:lumOff val="60000"/>
            </a:srgbClr>
          </a:solidFill>
        </p:spPr>
        <p:txBody>
          <a:bodyPr wrap="square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A99A"/>
              </a:buClr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Building from 2021 ESA framework for action 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A99A"/>
              </a:buClr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O, in collaboration with UNAIDS developing a framework for engaging men with evidence-based interventions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A99A"/>
              </a:buClr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Expected for launch in December.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A99A"/>
              </a:buClr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o move the conversation from the realms of talk to action!</a:t>
            </a:r>
          </a:p>
        </p:txBody>
      </p:sp>
      <p:pic>
        <p:nvPicPr>
          <p:cNvPr id="7" name="Image" descr="Image">
            <a:extLst>
              <a:ext uri="{FF2B5EF4-FFF2-40B4-BE49-F238E27FC236}">
                <a16:creationId xmlns:a16="http://schemas.microsoft.com/office/drawing/2014/main" id="{689634EA-7AA0-4E3E-A089-823D43796E6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842090" y="5956384"/>
            <a:ext cx="2561408" cy="901616"/>
          </a:xfrm>
          <a:prstGeom prst="rect">
            <a:avLst/>
          </a:prstGeom>
          <a:ln w="12700">
            <a:miter lim="400000"/>
          </a:ln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3F00640-50B4-AE94-1E9F-482F1EDA30E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80462" y="4284617"/>
            <a:ext cx="2497897" cy="2573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431292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FDE830-8EDA-4CEE-9773-FD79BA022C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1693" y="0"/>
            <a:ext cx="7637723" cy="519717"/>
          </a:xfrm>
        </p:spPr>
        <p:txBody>
          <a:bodyPr vert="horz" lIns="57867" tIns="28933" rIns="57867" bIns="28933" rtlCol="0" anchor="ctr">
            <a:normAutofit/>
          </a:bodyPr>
          <a:lstStyle/>
          <a:p>
            <a:pPr algn="ctr"/>
            <a:r>
              <a:rPr lang="en-GB" sz="2800" b="1" dirty="0">
                <a:solidFill>
                  <a:schemeClr val="accent5"/>
                </a:solidFill>
              </a:rPr>
              <a:t>MENHT Workplan 2023</a:t>
            </a:r>
            <a:endParaRPr lang="en-US" sz="2800" b="1" dirty="0">
              <a:solidFill>
                <a:schemeClr val="accent5"/>
              </a:solidFill>
            </a:endParaRP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E2516C42-2656-4CE8-997E-D9DBDE3D10DD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48985" y="445338"/>
          <a:ext cx="12094030" cy="5929807"/>
        </p:xfrm>
        <a:graphic>
          <a:graphicData uri="http://schemas.openxmlformats.org/drawingml/2006/table">
            <a:tbl>
              <a:tblPr firstRow="1" firstCol="1" bandRow="1"/>
              <a:tblGrid>
                <a:gridCol w="2929023">
                  <a:extLst>
                    <a:ext uri="{9D8B030D-6E8A-4147-A177-3AD203B41FA5}">
                      <a16:colId xmlns:a16="http://schemas.microsoft.com/office/drawing/2014/main" val="3796818567"/>
                    </a:ext>
                  </a:extLst>
                </a:gridCol>
                <a:gridCol w="3106017">
                  <a:extLst>
                    <a:ext uri="{9D8B030D-6E8A-4147-A177-3AD203B41FA5}">
                      <a16:colId xmlns:a16="http://schemas.microsoft.com/office/drawing/2014/main" val="361292323"/>
                    </a:ext>
                  </a:extLst>
                </a:gridCol>
                <a:gridCol w="2643316">
                  <a:extLst>
                    <a:ext uri="{9D8B030D-6E8A-4147-A177-3AD203B41FA5}">
                      <a16:colId xmlns:a16="http://schemas.microsoft.com/office/drawing/2014/main" val="3818426847"/>
                    </a:ext>
                  </a:extLst>
                </a:gridCol>
                <a:gridCol w="1730135">
                  <a:extLst>
                    <a:ext uri="{9D8B030D-6E8A-4147-A177-3AD203B41FA5}">
                      <a16:colId xmlns:a16="http://schemas.microsoft.com/office/drawing/2014/main" val="885513896"/>
                    </a:ext>
                  </a:extLst>
                </a:gridCol>
                <a:gridCol w="1685539">
                  <a:extLst>
                    <a:ext uri="{9D8B030D-6E8A-4147-A177-3AD203B41FA5}">
                      <a16:colId xmlns:a16="http://schemas.microsoft.com/office/drawing/2014/main" val="2344191641"/>
                    </a:ext>
                  </a:extLst>
                </a:gridCol>
              </a:tblGrid>
              <a:tr h="268106">
                <a:tc gridSpan="5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kumimoji="0" lang="en-US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ENHT 2023 </a:t>
                      </a: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(Overseen by co-chairs of MENHT)                                          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400" marR="43400" marT="0" marB="0">
                    <a:lnL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964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74904940"/>
                  </a:ext>
                </a:extLst>
              </a:tr>
              <a:tr h="31834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Work/activity</a:t>
                      </a:r>
                    </a:p>
                  </a:txBody>
                  <a:tcPr marL="54556" marR="54556" marT="0" marB="0">
                    <a:lnL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ype</a:t>
                      </a:r>
                    </a:p>
                  </a:txBody>
                  <a:tcPr marL="54556" marR="54556" marT="0" marB="0">
                    <a:lnL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ead</a:t>
                      </a:r>
                    </a:p>
                  </a:txBody>
                  <a:tcPr marL="54556" marR="54556" marT="0" marB="0">
                    <a:lnL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imeline</a:t>
                      </a:r>
                    </a:p>
                  </a:txBody>
                  <a:tcPr marL="54556" marR="54556" marT="0" marB="0">
                    <a:lnL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US" sz="14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54556" marR="54556" marT="0" marB="0">
                    <a:lnL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6C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6648386"/>
                  </a:ext>
                </a:extLst>
              </a:tr>
              <a:tr h="85796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en and HIV: A review and synthesis of evidence-based approaches to reaching men in sub-Saharan Africa</a:t>
                      </a:r>
                    </a:p>
                  </a:txBody>
                  <a:tcPr marL="43400" marR="43400" marT="0" marB="0">
                    <a:lnL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echnical document</a:t>
                      </a:r>
                    </a:p>
                  </a:txBody>
                  <a:tcPr marL="43400" marR="43400" marT="0" marB="0">
                    <a:lnL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Wole Ameyan, Lycias Zembe</a:t>
                      </a:r>
                    </a:p>
                  </a:txBody>
                  <a:tcPr marL="43400" marR="43400" marT="0" marB="0">
                    <a:lnL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Q4 2023</a:t>
                      </a:r>
                    </a:p>
                  </a:txBody>
                  <a:tcPr marL="43400" marR="43400" marT="0" marB="0">
                    <a:lnL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raft FINALIZED. In copy editing.</a:t>
                      </a:r>
                    </a:p>
                  </a:txBody>
                  <a:tcPr marL="43400" marR="43400" marT="0" marB="0">
                    <a:lnL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6202590"/>
                  </a:ext>
                </a:extLst>
              </a:tr>
              <a:tr h="542699">
                <a:tc>
                  <a:txBody>
                    <a:bodyPr/>
                    <a:lstStyle/>
                    <a:p>
                      <a:pPr marL="0" marR="0" lvl="0" indent="0" algn="l" defTabSz="8020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eaching Men Through Faith Platforms</a:t>
                      </a:r>
                    </a:p>
                    <a:p>
                      <a:pPr marL="0" marR="0" lvl="0" indent="0" algn="l" defTabSz="8020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400" marR="43400" marT="0" marB="0">
                    <a:lnL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Implementation brief</a:t>
                      </a:r>
                    </a:p>
                  </a:txBody>
                  <a:tcPr marL="43400" marR="43400" marT="0" marB="0">
                    <a:lnL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Wole Ameyan, Muhammad Jamil</a:t>
                      </a:r>
                    </a:p>
                  </a:txBody>
                  <a:tcPr marL="43400" marR="43400" marT="0" marB="0">
                    <a:lnL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Q4 2024</a:t>
                      </a:r>
                    </a:p>
                  </a:txBody>
                  <a:tcPr marL="43400" marR="43400" marT="0" marB="0">
                    <a:lnL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rafted and reviewed. Ongoing for release 2024.</a:t>
                      </a:r>
                    </a:p>
                  </a:txBody>
                  <a:tcPr marL="43400" marR="43400" marT="0" marB="0">
                    <a:lnL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0142560"/>
                  </a:ext>
                </a:extLst>
              </a:tr>
              <a:tr h="60365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ollow up actions on the UNAIDS PCB thematic on men. </a:t>
                      </a:r>
                    </a:p>
                  </a:txBody>
                  <a:tcPr marL="43400" marR="43400" marT="0" marB="0">
                    <a:lnL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ollow up thematic</a:t>
                      </a:r>
                    </a:p>
                  </a:txBody>
                  <a:tcPr marL="43400" marR="43400" marT="0" marB="0">
                    <a:lnL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786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ycias Zembe, Wole Ameyan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endParaRPr lang="en-US" sz="14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400" marR="43400" marT="0" marB="0">
                    <a:lnL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Q2 2023</a:t>
                      </a:r>
                    </a:p>
                  </a:txBody>
                  <a:tcPr marL="43400" marR="43400" marT="0" marB="0">
                    <a:lnL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one</a:t>
                      </a:r>
                    </a:p>
                  </a:txBody>
                  <a:tcPr marL="43400" marR="43400" marT="0" marB="0">
                    <a:lnL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5954553"/>
                  </a:ext>
                </a:extLst>
              </a:tr>
              <a:tr h="82731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ENHT webinar series </a:t>
                      </a:r>
                    </a:p>
                  </a:txBody>
                  <a:tcPr marL="43400" marR="43400" marT="0" marB="0">
                    <a:lnL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Webinar series</a:t>
                      </a:r>
                    </a:p>
                  </a:txBody>
                  <a:tcPr marL="43400" marR="43400" marT="0" marB="0">
                    <a:lnL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ycias Zembe, Afsar Syed Mohammad, Shawn Malone, Anna Grimsrud, Wole Ameyan</a:t>
                      </a:r>
                    </a:p>
                  </a:txBody>
                  <a:tcPr marL="43400" marR="43400" marT="0" marB="0">
                    <a:lnL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Q1-Q4 2023</a:t>
                      </a:r>
                    </a:p>
                  </a:txBody>
                  <a:tcPr marL="43400" marR="43400" marT="0" marB="0">
                    <a:lnL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Ongoing </a:t>
                      </a:r>
                    </a:p>
                  </a:txBody>
                  <a:tcPr marL="43400" marR="43400" marT="0" marB="0">
                    <a:lnL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3695811"/>
                  </a:ext>
                </a:extLst>
              </a:tr>
              <a:tr h="63731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ENHT newsletter</a:t>
                      </a:r>
                    </a:p>
                  </a:txBody>
                  <a:tcPr marL="43400" marR="43400" marT="0" marB="0">
                    <a:lnL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Quarterly brief journal</a:t>
                      </a:r>
                    </a:p>
                  </a:txBody>
                  <a:tcPr marL="43400" marR="43400" marT="0" marB="0">
                    <a:lnL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786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hawn Malone, Lycias Zembe, Afsar Syed Mohammad, Anna Grimsrud, Wole Ameyan</a:t>
                      </a:r>
                    </a:p>
                  </a:txBody>
                  <a:tcPr marL="43400" marR="43400" marT="0" marB="0">
                    <a:lnL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786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Q1-Q4 2023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endParaRPr lang="en-US" sz="14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400" marR="43400" marT="0" marB="0">
                    <a:lnL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irst issue released</a:t>
                      </a:r>
                    </a:p>
                  </a:txBody>
                  <a:tcPr marL="43400" marR="43400" marT="0" marB="0">
                    <a:lnL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7959575"/>
                  </a:ext>
                </a:extLst>
              </a:tr>
              <a:tr h="836023">
                <a:tc>
                  <a:txBody>
                    <a:bodyPr/>
                    <a:lstStyle/>
                    <a:p>
                      <a:pPr marL="0" marR="0" lvl="0" indent="0" algn="l" defTabSz="8020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Implementing Men’s framework in country NSPs in ESA</a:t>
                      </a:r>
                    </a:p>
                  </a:txBody>
                  <a:tcPr marL="43400" marR="43400" marT="0" marB="0">
                    <a:lnL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ontinuous support for development of NSPs</a:t>
                      </a:r>
                    </a:p>
                  </a:txBody>
                  <a:tcPr marL="43400" marR="43400" marT="0" marB="0">
                    <a:lnL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LL</a:t>
                      </a:r>
                    </a:p>
                  </a:txBody>
                  <a:tcPr marL="43400" marR="43400" marT="0" marB="0">
                    <a:lnL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Q1-Q4 2023</a:t>
                      </a:r>
                    </a:p>
                  </a:txBody>
                  <a:tcPr marL="43400" marR="43400" marT="0" marB="0">
                    <a:lnL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80202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Ongoing</a:t>
                      </a:r>
                    </a:p>
                  </a:txBody>
                  <a:tcPr marL="43400" marR="43400" marT="0" marB="0">
                    <a:lnL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0530786"/>
                  </a:ext>
                </a:extLst>
              </a:tr>
              <a:tr h="938229">
                <a:tc>
                  <a:txBody>
                    <a:bodyPr/>
                    <a:lstStyle/>
                    <a:p>
                      <a:pPr marL="0" marR="0" lvl="0" indent="0" algn="l" defTabSz="8020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onferences, Advocacy, visibility</a:t>
                      </a:r>
                    </a:p>
                  </a:txBody>
                  <a:tcPr marL="43400" marR="43400" marT="0" marB="0">
                    <a:lnL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s needed. Including men in major conferences, events. </a:t>
                      </a:r>
                    </a:p>
                  </a:txBody>
                  <a:tcPr marL="43400" marR="43400" marT="0" marB="0">
                    <a:lnL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nna Grimsrud, Lycias Zembe, Wole Ameyan, Afsar Syed Mohammad</a:t>
                      </a:r>
                    </a:p>
                  </a:txBody>
                  <a:tcPr marL="43400" marR="43400" marT="0" marB="0">
                    <a:lnL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Q1-Q4 2023</a:t>
                      </a:r>
                    </a:p>
                  </a:txBody>
                  <a:tcPr marL="43400" marR="43400" marT="0" marB="0">
                    <a:lnL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80202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Ongoing</a:t>
                      </a:r>
                    </a:p>
                  </a:txBody>
                  <a:tcPr marL="43400" marR="43400" marT="0" marB="0">
                    <a:lnL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ABF8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3814147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770D32D5-5615-484E-9FEB-D9B1D6B9D1EB}"/>
              </a:ext>
            </a:extLst>
          </p:cNvPr>
          <p:cNvSpPr/>
          <p:nvPr/>
        </p:nvSpPr>
        <p:spPr>
          <a:xfrm>
            <a:off x="10656865" y="707088"/>
            <a:ext cx="1328905" cy="2876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59782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9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rrent status</a:t>
            </a:r>
          </a:p>
        </p:txBody>
      </p:sp>
    </p:spTree>
    <p:extLst>
      <p:ext uri="{BB962C8B-B14F-4D97-AF65-F5344CB8AC3E}">
        <p14:creationId xmlns:p14="http://schemas.microsoft.com/office/powerpoint/2010/main" val="18008451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0CFC4EAA-C321-4DC5-81F2-BDAC602DD91C}"/>
              </a:ext>
            </a:extLst>
          </p:cNvPr>
          <p:cNvSpPr txBox="1"/>
          <p:nvPr/>
        </p:nvSpPr>
        <p:spPr>
          <a:xfrm>
            <a:off x="2789499" y="57393"/>
            <a:ext cx="8105925" cy="594778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pPr marL="0" marR="0" lvl="0" indent="0" algn="ctr" defTabSz="7275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65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/>
                <a:ea typeface="+mn-ea"/>
                <a:cs typeface="Arial" panose="020B0604020202020204" pitchFamily="34" charset="0"/>
              </a:rPr>
              <a:t>Key strategic issu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A59D1FD-0A10-47B3-9114-41CE685CC5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317" y="0"/>
            <a:ext cx="2560518" cy="1441268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49CD6AF-B353-4C3D-AC18-9F0A1EFF6E84}"/>
              </a:ext>
            </a:extLst>
          </p:cNvPr>
          <p:cNvSpPr txBox="1">
            <a:spLocks/>
          </p:cNvSpPr>
          <p:nvPr/>
        </p:nvSpPr>
        <p:spPr bwMode="auto">
          <a:xfrm>
            <a:off x="160324" y="1589314"/>
            <a:ext cx="11644929" cy="49106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90525" indent="-390525" algn="l" defTabSz="1042988" rtl="0" eaLnBrk="1" fontAlgn="base" hangingPunct="1">
              <a:spcBef>
                <a:spcPct val="80000"/>
              </a:spcBef>
              <a:spcAft>
                <a:spcPct val="0"/>
              </a:spcAft>
              <a:buClr>
                <a:srgbClr val="1E7FB8"/>
              </a:buClr>
              <a:buFont typeface="Wingdings" panose="05000000000000000000" pitchFamily="2" charset="2"/>
              <a:buChar char="l"/>
              <a:defRPr sz="2800" kern="1200">
                <a:solidFill>
                  <a:srgbClr val="000066"/>
                </a:solidFill>
                <a:latin typeface="+mn-lt"/>
                <a:ea typeface="+mn-ea"/>
                <a:cs typeface="+mn-cs"/>
              </a:defRPr>
            </a:lvl1pPr>
            <a:lvl2pPr marL="919163" indent="-322263" algn="l" defTabSz="1042988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E7FB8"/>
              </a:buClr>
              <a:buFont typeface="Arial" panose="020B0604020202020204" pitchFamily="34" charset="0"/>
              <a:buChar char="–"/>
              <a:defRPr sz="2400" kern="1200">
                <a:solidFill>
                  <a:srgbClr val="000066"/>
                </a:solidFill>
                <a:latin typeface="+mn-lt"/>
                <a:ea typeface="+mn-ea"/>
                <a:cs typeface="+mn-cs"/>
              </a:defRPr>
            </a:lvl2pPr>
            <a:lvl3pPr marL="1433513" indent="-307975" algn="l" defTabSz="1042988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E7FB8"/>
              </a:buClr>
              <a:buChar char="•"/>
              <a:defRPr sz="2400" kern="1200">
                <a:solidFill>
                  <a:srgbClr val="000066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98650" indent="-258763" algn="l" defTabSz="1042988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E7FB8"/>
              </a:buClr>
              <a:buChar char="–"/>
              <a:defRPr sz="2400" kern="1200">
                <a:solidFill>
                  <a:srgbClr val="000066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268538" indent="-165100" algn="r" defTabSz="1042988" rtl="1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300" kern="1200">
                <a:solidFill>
                  <a:srgbClr val="00006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+mj-lt"/>
              <a:buAutoNum type="arabicPeriod"/>
              <a:defRPr/>
            </a:pPr>
            <a:r>
              <a:rPr lang="en-US" sz="1800" dirty="0">
                <a:latin typeface="Arial"/>
                <a:cs typeface="Arial"/>
              </a:rPr>
              <a:t>Package of services – narrow but meaningfully additive, evidence based and differentiated service package. HIV, STIs, TB…: leveraging the upcoming framework for reaching men</a:t>
            </a:r>
          </a:p>
          <a:p>
            <a:pPr marL="457200" marR="0" lvl="0" indent="-457200" algn="l" defTabSz="1042988" rtl="0" eaLnBrk="1" fontAlgn="base" latinLnBrk="0" hangingPunct="1">
              <a:lnSpc>
                <a:spcPct val="100000"/>
              </a:lnSpc>
              <a:spcBef>
                <a:spcPct val="80000"/>
              </a:spcBef>
              <a:spcAft>
                <a:spcPct val="0"/>
              </a:spcAft>
              <a:buClr>
                <a:srgbClr val="1E7FB8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Arial"/>
                <a:cs typeface="Arial"/>
              </a:rPr>
              <a:t>Dedicated funding: For implementation. Prioritized ‘impact funding’ towards identified high burden settings</a:t>
            </a:r>
          </a:p>
          <a:p>
            <a:pPr marL="457200" marR="0" lvl="0" indent="-457200" algn="l" defTabSz="1042988" rtl="0" eaLnBrk="1" fontAlgn="base" latinLnBrk="0" hangingPunct="1">
              <a:lnSpc>
                <a:spcPct val="100000"/>
              </a:lnSpc>
              <a:spcBef>
                <a:spcPct val="80000"/>
              </a:spcBef>
              <a:spcAft>
                <a:spcPct val="0"/>
              </a:spcAft>
              <a:buClr>
                <a:srgbClr val="1E7FB8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Arial"/>
                <a:cs typeface="Arial"/>
              </a:rPr>
              <a:t>Learning and coordination platform – the MENHT platform as a steppingstone to facilitating country adaptations</a:t>
            </a:r>
          </a:p>
          <a:p>
            <a:pPr marL="457200" marR="0" lvl="0" indent="-457200" algn="l" defTabSz="1042988" rtl="0" eaLnBrk="1" fontAlgn="base" latinLnBrk="0" hangingPunct="1">
              <a:lnSpc>
                <a:spcPct val="100000"/>
              </a:lnSpc>
              <a:spcBef>
                <a:spcPct val="80000"/>
              </a:spcBef>
              <a:spcAft>
                <a:spcPct val="0"/>
              </a:spcAft>
              <a:buClr>
                <a:srgbClr val="1E7FB8"/>
              </a:buClr>
              <a:buSzTx/>
              <a:buFont typeface="+mj-lt"/>
              <a:buAutoNum type="arabicPeriod"/>
              <a:tabLst/>
              <a:defRPr/>
            </a:pPr>
            <a:r>
              <a:rPr lang="en-US" sz="1800" dirty="0">
                <a:latin typeface="Arial"/>
                <a:cs typeface="Arial"/>
              </a:rPr>
              <a:t>Partnerships and community led advocacy: To leverage combined expertise, resources, and reach to bring men into the forefront of evidence-based programming.</a:t>
            </a:r>
          </a:p>
          <a:p>
            <a:pPr marL="457200" marR="0" lvl="0" indent="-457200" algn="l" defTabSz="1042988" rtl="0" eaLnBrk="1" fontAlgn="base" latinLnBrk="0" hangingPunct="1">
              <a:lnSpc>
                <a:spcPct val="100000"/>
              </a:lnSpc>
              <a:spcBef>
                <a:spcPct val="80000"/>
              </a:spcBef>
              <a:spcAft>
                <a:spcPct val="0"/>
              </a:spcAft>
              <a:buClr>
                <a:srgbClr val="1E7FB8"/>
              </a:buClr>
              <a:buSzTx/>
              <a:buFont typeface="+mj-lt"/>
              <a:buAutoNum type="arabicPeriod"/>
              <a:tabLst/>
              <a:defRPr/>
            </a:pPr>
            <a:r>
              <a:rPr lang="en-US" sz="1800" dirty="0">
                <a:latin typeface="Arial"/>
                <a:cs typeface="Arial"/>
              </a:rPr>
              <a:t>Sensitization rather than capacity building?</a:t>
            </a:r>
          </a:p>
          <a:p>
            <a:pPr marL="457200" marR="0" lvl="0" indent="-457200" algn="l" defTabSz="1042988" rtl="0" eaLnBrk="1" fontAlgn="base" latinLnBrk="0" hangingPunct="1">
              <a:lnSpc>
                <a:spcPct val="100000"/>
              </a:lnSpc>
              <a:spcBef>
                <a:spcPct val="80000"/>
              </a:spcBef>
              <a:spcAft>
                <a:spcPct val="0"/>
              </a:spcAft>
              <a:buClr>
                <a:srgbClr val="1E7FB8"/>
              </a:buClr>
              <a:buSzTx/>
              <a:buFont typeface="+mj-lt"/>
              <a:buAutoNum type="arabicPeriod"/>
              <a:tabLst/>
              <a:defRPr/>
            </a:pPr>
            <a:r>
              <a:rPr lang="en-US" sz="1800" dirty="0">
                <a:latin typeface="Arial"/>
                <a:cs typeface="Arial"/>
              </a:rPr>
              <a:t>Innovation: innovative service delivery models and interventions</a:t>
            </a:r>
          </a:p>
          <a:p>
            <a:pPr marL="457200" marR="0" lvl="0" indent="-457200" algn="l" defTabSz="1042988" rtl="0" eaLnBrk="1" fontAlgn="base" latinLnBrk="0" hangingPunct="1">
              <a:lnSpc>
                <a:spcPct val="100000"/>
              </a:lnSpc>
              <a:spcBef>
                <a:spcPct val="80000"/>
              </a:spcBef>
              <a:spcAft>
                <a:spcPct val="0"/>
              </a:spcAft>
              <a:buClr>
                <a:srgbClr val="1E7FB8"/>
              </a:buClr>
              <a:buSzTx/>
              <a:buFont typeface="+mj-lt"/>
              <a:buAutoNum type="arabicPeriod"/>
              <a:tabLst/>
              <a:defRPr/>
            </a:pPr>
            <a:r>
              <a:rPr lang="en-US" sz="1800" dirty="0">
                <a:latin typeface="Arial"/>
                <a:cs typeface="Arial"/>
              </a:rPr>
              <a:t>Data: implementation research and plugging data gaps</a:t>
            </a:r>
          </a:p>
          <a:p>
            <a:pPr marL="457200" marR="0" lvl="0" indent="-457200" algn="l" defTabSz="1042988" rtl="0" eaLnBrk="1" fontAlgn="base" latinLnBrk="0" hangingPunct="1">
              <a:lnSpc>
                <a:spcPct val="100000"/>
              </a:lnSpc>
              <a:spcBef>
                <a:spcPct val="80000"/>
              </a:spcBef>
              <a:spcAft>
                <a:spcPct val="0"/>
              </a:spcAft>
              <a:buClr>
                <a:srgbClr val="1E7FB8"/>
              </a:buClr>
              <a:buSzTx/>
              <a:buFont typeface="+mj-lt"/>
              <a:buAutoNum type="arabicPeriod"/>
              <a:tabLst/>
              <a:defRPr/>
            </a:pPr>
            <a:r>
              <a:rPr lang="en-US" sz="1800" dirty="0">
                <a:latin typeface="Arial"/>
                <a:cs typeface="Arial"/>
              </a:rPr>
              <a:t>Structural interventions: Dealing with gender-based issues, behaviour change etc. without losing track of the bottom line</a:t>
            </a:r>
          </a:p>
          <a:p>
            <a:pPr marL="390525" marR="0" lvl="0" indent="-390525" algn="l" defTabSz="1042988" rtl="0" eaLnBrk="1" fontAlgn="base" latinLnBrk="0" hangingPunct="1">
              <a:lnSpc>
                <a:spcPct val="100000"/>
              </a:lnSpc>
              <a:spcBef>
                <a:spcPct val="80000"/>
              </a:spcBef>
              <a:spcAft>
                <a:spcPct val="0"/>
              </a:spcAft>
              <a:buClr>
                <a:srgbClr val="1E7FB8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endParaRPr lang="en-US" sz="1800" dirty="0">
              <a:latin typeface="Arial"/>
              <a:cs typeface="Arial"/>
            </a:endParaRPr>
          </a:p>
          <a:p>
            <a:pPr marL="390525" marR="0" lvl="0" indent="-390525" algn="l" defTabSz="1042988" rtl="0" eaLnBrk="1" fontAlgn="base" latinLnBrk="0" hangingPunct="1">
              <a:lnSpc>
                <a:spcPct val="100000"/>
              </a:lnSpc>
              <a:spcBef>
                <a:spcPct val="80000"/>
              </a:spcBef>
              <a:spcAft>
                <a:spcPct val="0"/>
              </a:spcAft>
              <a:buClr>
                <a:srgbClr val="1E7FB8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endParaRPr lang="en-US" sz="1800" dirty="0">
              <a:latin typeface="Arial"/>
              <a:cs typeface="Arial"/>
            </a:endParaRPr>
          </a:p>
          <a:p>
            <a:pPr marL="390525" marR="0" lvl="0" indent="-390525" algn="l" defTabSz="1042988" rtl="0" eaLnBrk="1" fontAlgn="base" latinLnBrk="0" hangingPunct="1">
              <a:lnSpc>
                <a:spcPct val="100000"/>
              </a:lnSpc>
              <a:spcBef>
                <a:spcPct val="80000"/>
              </a:spcBef>
              <a:spcAft>
                <a:spcPct val="0"/>
              </a:spcAft>
              <a:buClr>
                <a:srgbClr val="1E7FB8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66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390525" marR="0" lvl="0" indent="-390525" algn="l" defTabSz="1042988" rtl="0" eaLnBrk="1" fontAlgn="base" latinLnBrk="0" hangingPunct="1">
              <a:lnSpc>
                <a:spcPct val="100000"/>
              </a:lnSpc>
              <a:spcBef>
                <a:spcPct val="80000"/>
              </a:spcBef>
              <a:spcAft>
                <a:spcPct val="0"/>
              </a:spcAft>
              <a:buClr>
                <a:srgbClr val="1E7FB8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66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390525" marR="0" lvl="0" indent="-390525" algn="l" defTabSz="1042988" rtl="0" eaLnBrk="1" fontAlgn="base" latinLnBrk="0" hangingPunct="1">
              <a:lnSpc>
                <a:spcPct val="100000"/>
              </a:lnSpc>
              <a:spcBef>
                <a:spcPct val="80000"/>
              </a:spcBef>
              <a:spcAft>
                <a:spcPct val="0"/>
              </a:spcAft>
              <a:buClr>
                <a:srgbClr val="1E7FB8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66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390525" marR="0" lvl="0" indent="-390525" algn="l" defTabSz="1042988" rtl="0" eaLnBrk="1" fontAlgn="base" latinLnBrk="0" hangingPunct="1">
              <a:lnSpc>
                <a:spcPct val="100000"/>
              </a:lnSpc>
              <a:spcBef>
                <a:spcPct val="80000"/>
              </a:spcBef>
              <a:spcAft>
                <a:spcPct val="0"/>
              </a:spcAft>
              <a:buClr>
                <a:srgbClr val="1E7FB8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Arial"/>
                <a:cs typeface="Arial"/>
              </a:rPr>
              <a:t>Think men, think diverse. Think all men. Masculinities could be toxic but being masculine itself is not. The key is to do away with inflexible definitions that put men in a box.</a:t>
            </a:r>
          </a:p>
          <a:p>
            <a:pPr marL="390525" marR="0" lvl="0" indent="-390525" algn="l" defTabSz="1042988" rtl="0" eaLnBrk="1" fontAlgn="base" latinLnBrk="0" hangingPunct="1">
              <a:lnSpc>
                <a:spcPct val="100000"/>
              </a:lnSpc>
              <a:spcBef>
                <a:spcPct val="80000"/>
              </a:spcBef>
              <a:spcAft>
                <a:spcPct val="0"/>
              </a:spcAft>
              <a:buClr>
                <a:srgbClr val="1E7FB8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Arial"/>
                <a:cs typeface="Arial"/>
              </a:rPr>
              <a:t>Think men, think changing the narrative. Shift from the blame game - Reframe the narrative of blame, vectors, stigma. Men do and can go for services but what happens when they get there??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66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172139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093A76E-7B99-426D-9617-97CA469C09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150425"/>
            <a:ext cx="4514448" cy="4085473"/>
          </a:xfrm>
          <a:prstGeom prst="rect">
            <a:avLst/>
          </a:prstGeom>
        </p:spPr>
      </p:pic>
      <p:sp>
        <p:nvSpPr>
          <p:cNvPr id="41" name="Title 1">
            <a:extLst>
              <a:ext uri="{FF2B5EF4-FFF2-40B4-BE49-F238E27FC236}">
                <a16:creationId xmlns:a16="http://schemas.microsoft.com/office/drawing/2014/main" id="{0F307A43-41F6-4F77-AE30-693FFD317841}"/>
              </a:ext>
            </a:extLst>
          </p:cNvPr>
          <p:cNvSpPr txBox="1">
            <a:spLocks/>
          </p:cNvSpPr>
          <p:nvPr/>
        </p:nvSpPr>
        <p:spPr>
          <a:xfrm>
            <a:off x="0" y="-19665"/>
            <a:ext cx="12192000" cy="729827"/>
          </a:xfrm>
          <a:prstGeom prst="rect">
            <a:avLst/>
          </a:prstGeom>
          <a:solidFill>
            <a:srgbClr val="0070C0"/>
          </a:solidFill>
        </p:spPr>
        <p:txBody>
          <a:bodyPr vert="horz" lIns="182843" tIns="91422" rIns="182843" bIns="91422" rtlCol="0" anchor="ctr">
            <a:normAutofit fontScale="67500" lnSpcReduction="20000"/>
          </a:bodyPr>
          <a:lstStyle>
            <a:lvl1pPr algn="l" defTabSz="91421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i="0" kern="1200">
                <a:solidFill>
                  <a:srgbClr val="009999"/>
                </a:solidFill>
                <a:latin typeface="Poppins" pitchFamily="2" charset="77"/>
                <a:ea typeface="Open Sans Light" panose="020B0306030504020204" pitchFamily="34" charset="0"/>
                <a:cs typeface="Poppins" pitchFamily="2" charset="77"/>
              </a:defRPr>
            </a:lvl1pPr>
          </a:lstStyle>
          <a:p>
            <a:pPr marL="0" marR="0" lvl="0" indent="0" algn="l" defTabSz="91421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itchFamily="2" charset="77"/>
                <a:ea typeface="Open Sans Light" panose="020B0306030504020204" pitchFamily="34" charset="0"/>
                <a:cs typeface="Poppins" pitchFamily="2" charset="77"/>
              </a:rPr>
              <a:t>A tale of two strategic shifts - From VMMC to a broader boys’  and men’s agenda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4CAF5ED5-58B7-42B5-9803-CB3EBA9667A6}"/>
              </a:ext>
            </a:extLst>
          </p:cNvPr>
          <p:cNvSpPr txBox="1"/>
          <p:nvPr/>
        </p:nvSpPr>
        <p:spPr>
          <a:xfrm>
            <a:off x="4540189" y="1150425"/>
            <a:ext cx="4103732" cy="389337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A99A"/>
              </a:buClr>
              <a:buSzTx/>
              <a:buFontTx/>
              <a:buNone/>
              <a:tabLst/>
              <a:defRPr/>
            </a:pPr>
            <a:r>
              <a: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Key shifts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A99A"/>
              </a:buClr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trategic shift from VMMC as stand-alone pillar towards combination prevention packages for boys and men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A99A"/>
              </a:buClr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A99A"/>
              </a:buClr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Expanded scope of the VMMC program to address other men’s health issue.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A99A"/>
              </a:buClr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A99A"/>
              </a:buClr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omprehensive package for men and boys including community-based HIV testing, self-testing, ART, condoms, PrEP, PEP, CSE other SRHR, and harm reduction.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126F610-96C4-4B40-B721-07BEB11F99D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53725" y="1055924"/>
            <a:ext cx="3450635" cy="4651651"/>
          </a:xfrm>
          <a:prstGeom prst="rect">
            <a:avLst/>
          </a:prstGeom>
        </p:spPr>
      </p:pic>
      <p:sp>
        <p:nvSpPr>
          <p:cNvPr id="51" name="Title 1">
            <a:extLst>
              <a:ext uri="{FF2B5EF4-FFF2-40B4-BE49-F238E27FC236}">
                <a16:creationId xmlns:a16="http://schemas.microsoft.com/office/drawing/2014/main" id="{1CD8A0CA-5201-4C7B-8320-A199A1AF2E4D}"/>
              </a:ext>
            </a:extLst>
          </p:cNvPr>
          <p:cNvSpPr txBox="1">
            <a:spLocks/>
          </p:cNvSpPr>
          <p:nvPr/>
        </p:nvSpPr>
        <p:spPr>
          <a:xfrm>
            <a:off x="1195250" y="5924327"/>
            <a:ext cx="3707674" cy="729827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182843" tIns="91422" rIns="182843" bIns="91422" rtlCol="0" anchor="ctr">
            <a:normAutofit/>
          </a:bodyPr>
          <a:lstStyle>
            <a:lvl1pPr algn="l" defTabSz="91421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i="0" kern="1200">
                <a:solidFill>
                  <a:srgbClr val="009999"/>
                </a:solidFill>
                <a:latin typeface="Poppins" pitchFamily="2" charset="77"/>
                <a:ea typeface="Open Sans Light" panose="020B0306030504020204" pitchFamily="34" charset="0"/>
                <a:cs typeface="Poppins" pitchFamily="2" charset="77"/>
              </a:defRPr>
            </a:lvl1pPr>
          </a:lstStyle>
          <a:p>
            <a:pPr marL="0" marR="0" lvl="0" indent="0" algn="l" defTabSz="91421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E80C9"/>
                </a:solidFill>
                <a:effectLst/>
                <a:uLnTx/>
                <a:uFillTx/>
                <a:latin typeface="Poppins" pitchFamily="2" charset="77"/>
                <a:ea typeface="Open Sans Light" panose="020B0306030504020204" pitchFamily="34" charset="0"/>
                <a:cs typeface="Poppins" pitchFamily="2" charset="77"/>
              </a:rPr>
              <a:t>HIV Prevention 2025 Road Map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E80C9"/>
              </a:solidFill>
              <a:effectLst/>
              <a:uLnTx/>
              <a:uFillTx/>
              <a:latin typeface="Poppins" pitchFamily="2" charset="77"/>
              <a:ea typeface="Open Sans Light" panose="020B0306030504020204" pitchFamily="34" charset="0"/>
              <a:cs typeface="Poppins" pitchFamily="2" charset="77"/>
            </a:endParaRPr>
          </a:p>
        </p:txBody>
      </p:sp>
      <p:sp>
        <p:nvSpPr>
          <p:cNvPr id="52" name="Title 1">
            <a:extLst>
              <a:ext uri="{FF2B5EF4-FFF2-40B4-BE49-F238E27FC236}">
                <a16:creationId xmlns:a16="http://schemas.microsoft.com/office/drawing/2014/main" id="{A6DAECCE-7F2B-432E-90B5-ED230E308D84}"/>
              </a:ext>
            </a:extLst>
          </p:cNvPr>
          <p:cNvSpPr txBox="1">
            <a:spLocks/>
          </p:cNvSpPr>
          <p:nvPr/>
        </p:nvSpPr>
        <p:spPr>
          <a:xfrm>
            <a:off x="6031139" y="5924327"/>
            <a:ext cx="3707674" cy="729827"/>
          </a:xfrm>
          <a:prstGeom prst="rect">
            <a:avLst/>
          </a:prstGeom>
          <a:ln>
            <a:solidFill>
              <a:srgbClr val="FFC000"/>
            </a:solidFill>
          </a:ln>
        </p:spPr>
        <p:txBody>
          <a:bodyPr vert="horz" lIns="182843" tIns="91422" rIns="182843" bIns="91422" rtlCol="0" anchor="ctr">
            <a:normAutofit/>
          </a:bodyPr>
          <a:lstStyle>
            <a:lvl1pPr algn="l" defTabSz="91421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i="0" kern="1200">
                <a:solidFill>
                  <a:srgbClr val="009999"/>
                </a:solidFill>
                <a:latin typeface="Poppins" pitchFamily="2" charset="77"/>
                <a:ea typeface="Open Sans Light" panose="020B0306030504020204" pitchFamily="34" charset="0"/>
                <a:cs typeface="Poppins" pitchFamily="2" charset="77"/>
              </a:defRPr>
            </a:lvl1pPr>
          </a:lstStyle>
          <a:p>
            <a:pPr marL="0" marR="0" lvl="0" indent="0" algn="l" defTabSz="91421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BAEF69">
                    <a:lumMod val="50000"/>
                  </a:srgbClr>
                </a:solidFill>
                <a:effectLst/>
                <a:uLnTx/>
                <a:uFillTx/>
                <a:latin typeface="Poppins" pitchFamily="2" charset="77"/>
                <a:ea typeface="Open Sans Light" panose="020B0306030504020204" pitchFamily="34" charset="0"/>
                <a:cs typeface="Poppins" pitchFamily="2" charset="77"/>
              </a:rPr>
              <a:t>VMMC framework 2021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BAEF69">
                  <a:lumMod val="50000"/>
                </a:srgbClr>
              </a:solidFill>
              <a:effectLst/>
              <a:uLnTx/>
              <a:uFillTx/>
              <a:latin typeface="Poppins" pitchFamily="2" charset="77"/>
              <a:ea typeface="Open Sans Light" panose="020B0306030504020204" pitchFamily="34" charset="0"/>
              <a:cs typeface="Poppins" pitchFamily="2" charset="77"/>
            </a:endParaRPr>
          </a:p>
        </p:txBody>
      </p:sp>
      <p:pic>
        <p:nvPicPr>
          <p:cNvPr id="9" name="Image" descr="Image">
            <a:extLst>
              <a:ext uri="{FF2B5EF4-FFF2-40B4-BE49-F238E27FC236}">
                <a16:creationId xmlns:a16="http://schemas.microsoft.com/office/drawing/2014/main" id="{BD579E85-BE16-4123-8313-C4C6846F7F1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61266" y="5917819"/>
            <a:ext cx="2670967" cy="940181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Oval 1">
            <a:extLst>
              <a:ext uri="{FF2B5EF4-FFF2-40B4-BE49-F238E27FC236}">
                <a16:creationId xmlns:a16="http://schemas.microsoft.com/office/drawing/2014/main" id="{61FDFDB1-0644-49A3-AE59-83D79C294675}"/>
              </a:ext>
            </a:extLst>
          </p:cNvPr>
          <p:cNvSpPr/>
          <p:nvPr/>
        </p:nvSpPr>
        <p:spPr>
          <a:xfrm>
            <a:off x="1891933" y="1759131"/>
            <a:ext cx="799013" cy="2116183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717030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29DD5B13-E80F-0F4B-A235-2A98A0D065F8}"/>
              </a:ext>
            </a:extLst>
          </p:cNvPr>
          <p:cNvSpPr txBox="1"/>
          <p:nvPr/>
        </p:nvSpPr>
        <p:spPr>
          <a:xfrm>
            <a:off x="0" y="-4736"/>
            <a:ext cx="12192000" cy="584775"/>
          </a:xfrm>
          <a:prstGeom prst="rect">
            <a:avLst/>
          </a:prstGeom>
          <a:solidFill>
            <a:srgbClr val="0070C0"/>
          </a:solidFill>
        </p:spPr>
        <p:txBody>
          <a:bodyPr wrap="square" rtlCol="0" anchor="b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HIV testing and treatment: It is a case of inequality of access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5FA72455-B805-A749-ACFA-BACBD79DBEAA}"/>
              </a:ext>
            </a:extLst>
          </p:cNvPr>
          <p:cNvGraphicFramePr/>
          <p:nvPr/>
        </p:nvGraphicFramePr>
        <p:xfrm>
          <a:off x="238550" y="1134556"/>
          <a:ext cx="10550589" cy="49039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0DEB471E-AD22-C64B-8618-7A6CA01D0F86}"/>
              </a:ext>
            </a:extLst>
          </p:cNvPr>
          <p:cNvSpPr txBox="1"/>
          <p:nvPr/>
        </p:nvSpPr>
        <p:spPr>
          <a:xfrm>
            <a:off x="3418115" y="6137894"/>
            <a:ext cx="490318" cy="215444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-15" normalizeH="0" baseline="0" noProof="0" dirty="0">
                <a:ln>
                  <a:noFill/>
                </a:ln>
                <a:solidFill>
                  <a:srgbClr val="111340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Men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E429D5BB-EBF7-C241-B3C9-CAFD81E4DF91}"/>
              </a:ext>
            </a:extLst>
          </p:cNvPr>
          <p:cNvSpPr/>
          <p:nvPr/>
        </p:nvSpPr>
        <p:spPr>
          <a:xfrm>
            <a:off x="3046577" y="6106233"/>
            <a:ext cx="371538" cy="27199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 pitchFamily="2" charset="77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C19FD3D-EC72-CB47-A5C6-1AAC742D0296}"/>
              </a:ext>
            </a:extLst>
          </p:cNvPr>
          <p:cNvSpPr txBox="1"/>
          <p:nvPr/>
        </p:nvSpPr>
        <p:spPr>
          <a:xfrm>
            <a:off x="5194663" y="6194441"/>
            <a:ext cx="638364" cy="215444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-15" normalizeH="0" baseline="0" noProof="0" dirty="0">
                <a:ln>
                  <a:noFill/>
                </a:ln>
                <a:solidFill>
                  <a:srgbClr val="111340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Women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7C9A98A5-01F5-214A-8913-B0C4525B116D}"/>
              </a:ext>
            </a:extLst>
          </p:cNvPr>
          <p:cNvSpPr/>
          <p:nvPr/>
        </p:nvSpPr>
        <p:spPr>
          <a:xfrm>
            <a:off x="4823125" y="6137894"/>
            <a:ext cx="371538" cy="27199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 pitchFamily="2" charset="77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75E5FAF-C258-454B-8A14-9A16A0737FCE}"/>
              </a:ext>
            </a:extLst>
          </p:cNvPr>
          <p:cNvSpPr txBox="1"/>
          <p:nvPr/>
        </p:nvSpPr>
        <p:spPr>
          <a:xfrm>
            <a:off x="618310" y="689419"/>
            <a:ext cx="113351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113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V Testing and Treatment Cascade among WOMEN compared to MEN (AGED 15+ YEARS), 2021 (%)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89F0685-1189-402C-BBCD-1D82F157BC65}"/>
              </a:ext>
            </a:extLst>
          </p:cNvPr>
          <p:cNvSpPr txBox="1"/>
          <p:nvPr/>
        </p:nvSpPr>
        <p:spPr>
          <a:xfrm>
            <a:off x="1040295" y="6483178"/>
            <a:ext cx="8308736" cy="30777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LT-Black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LT-Black"/>
                <a:ea typeface="+mn-ea"/>
                <a:cs typeface="+mn-cs"/>
              </a:rPr>
              <a:t>Source: Global AIDS Monitoring 2021; UNAIDS epidemiological estimates, 2022</a:t>
            </a:r>
          </a:p>
        </p:txBody>
      </p:sp>
      <p:pic>
        <p:nvPicPr>
          <p:cNvPr id="12" name="Image" descr="Image">
            <a:extLst>
              <a:ext uri="{FF2B5EF4-FFF2-40B4-BE49-F238E27FC236}">
                <a16:creationId xmlns:a16="http://schemas.microsoft.com/office/drawing/2014/main" id="{73F4DD6E-EFAF-4190-888E-1C3C2E2649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16999" y="5794537"/>
            <a:ext cx="3175001" cy="111760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0476883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A220D301-1079-4FC1-A2B3-1CCD1C055D94}"/>
              </a:ext>
            </a:extLst>
          </p:cNvPr>
          <p:cNvGraphicFramePr/>
          <p:nvPr/>
        </p:nvGraphicFramePr>
        <p:xfrm>
          <a:off x="446381" y="1163395"/>
          <a:ext cx="9665854" cy="44519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E1E651A9-FDC2-4F59-B0D3-9581B779499B}"/>
              </a:ext>
            </a:extLst>
          </p:cNvPr>
          <p:cNvSpPr txBox="1"/>
          <p:nvPr/>
        </p:nvSpPr>
        <p:spPr>
          <a:xfrm>
            <a:off x="1" y="0"/>
            <a:ext cx="12209006" cy="584775"/>
          </a:xfrm>
          <a:prstGeom prst="rect">
            <a:avLst/>
          </a:prstGeom>
          <a:solidFill>
            <a:srgbClr val="0070C0"/>
          </a:solidFill>
        </p:spPr>
        <p:txBody>
          <a:bodyPr wrap="square" rtlCol="0" anchor="b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HIV testing and treatment: It is a case of widening inequalit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3153660-6ADC-4461-AB27-B5D6525049F9}"/>
              </a:ext>
            </a:extLst>
          </p:cNvPr>
          <p:cNvSpPr txBox="1"/>
          <p:nvPr/>
        </p:nvSpPr>
        <p:spPr>
          <a:xfrm>
            <a:off x="9947564" y="2791096"/>
            <a:ext cx="2261442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nsify test and treat efforts to have men on treatment and close the widening sex gap on ART coverag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0DD1A79-CF6C-4B8B-B311-DEF866C83D7D}"/>
              </a:ext>
            </a:extLst>
          </p:cNvPr>
          <p:cNvSpPr txBox="1"/>
          <p:nvPr/>
        </p:nvSpPr>
        <p:spPr>
          <a:xfrm>
            <a:off x="4828899" y="5789191"/>
            <a:ext cx="788126" cy="24622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-15" normalizeH="0" baseline="0" noProof="0" dirty="0">
                <a:ln>
                  <a:noFill/>
                </a:ln>
                <a:solidFill>
                  <a:srgbClr val="111340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Women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85C4D5E2-0531-4AB1-A33A-A19CA181771A}"/>
              </a:ext>
            </a:extLst>
          </p:cNvPr>
          <p:cNvSpPr/>
          <p:nvPr/>
        </p:nvSpPr>
        <p:spPr>
          <a:xfrm>
            <a:off x="4457361" y="5763421"/>
            <a:ext cx="371538" cy="27199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 pitchFamily="2" charset="77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32C3CA2-3846-4D98-85C6-66B811F2002F}"/>
              </a:ext>
            </a:extLst>
          </p:cNvPr>
          <p:cNvSpPr txBox="1"/>
          <p:nvPr/>
        </p:nvSpPr>
        <p:spPr>
          <a:xfrm>
            <a:off x="618310" y="689419"/>
            <a:ext cx="113351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113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verage of people receiving ART among WOMEN compared to MEN (AGED 15+ YEARS), from 2010 – 2021 (%)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56F9778-F78F-4772-AED7-EAF0D2FBAC69}"/>
              </a:ext>
            </a:extLst>
          </p:cNvPr>
          <p:cNvSpPr txBox="1"/>
          <p:nvPr/>
        </p:nvSpPr>
        <p:spPr>
          <a:xfrm>
            <a:off x="3418115" y="5732644"/>
            <a:ext cx="490318" cy="24622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-15" normalizeH="0" baseline="0" noProof="0" dirty="0">
                <a:ln>
                  <a:noFill/>
                </a:ln>
                <a:solidFill>
                  <a:srgbClr val="111340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Men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C4BAD19E-0E3D-4B97-9965-A7AFF48F0B87}"/>
              </a:ext>
            </a:extLst>
          </p:cNvPr>
          <p:cNvSpPr/>
          <p:nvPr/>
        </p:nvSpPr>
        <p:spPr>
          <a:xfrm>
            <a:off x="3046577" y="5731760"/>
            <a:ext cx="371538" cy="27199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 pitchFamily="2" charset="77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5A5DAAE-4EA8-4D1F-BF23-58157648E213}"/>
              </a:ext>
            </a:extLst>
          </p:cNvPr>
          <p:cNvSpPr txBox="1"/>
          <p:nvPr/>
        </p:nvSpPr>
        <p:spPr>
          <a:xfrm>
            <a:off x="1040295" y="6483178"/>
            <a:ext cx="8308736" cy="30777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LT-Black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LT-Black"/>
                <a:ea typeface="+mn-ea"/>
                <a:cs typeface="+mn-cs"/>
              </a:rPr>
              <a:t>Source: Global AIDS Monitoring 2021; UNAIDS epidemiological estimates, 2022</a:t>
            </a:r>
          </a:p>
        </p:txBody>
      </p:sp>
      <p:pic>
        <p:nvPicPr>
          <p:cNvPr id="12" name="Image" descr="Image">
            <a:extLst>
              <a:ext uri="{FF2B5EF4-FFF2-40B4-BE49-F238E27FC236}">
                <a16:creationId xmlns:a16="http://schemas.microsoft.com/office/drawing/2014/main" id="{03F389AF-CDC3-461B-AFDA-BC7F73F186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92515" y="5813966"/>
            <a:ext cx="3175001" cy="111760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1435670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A6860F-A4B6-4841-B9DA-135262B27B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0" y="0"/>
            <a:ext cx="12192000" cy="668273"/>
          </a:xfrm>
          <a:solidFill>
            <a:srgbClr val="0070C0"/>
          </a:solidFill>
        </p:spPr>
        <p:txBody>
          <a:bodyPr>
            <a:normAutofit/>
          </a:bodyPr>
          <a:lstStyle/>
          <a:p>
            <a:r>
              <a:rPr lang="en-US" sz="2000" dirty="0">
                <a:latin typeface="Arial"/>
                <a:cs typeface="Arial"/>
              </a:rPr>
              <a:t>Regional averages unmask real gaps! </a:t>
            </a:r>
            <a:endParaRPr lang="en-US" sz="2000" dirty="0">
              <a:cs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5921195-6C59-4BBE-8DDB-FEC6BCED97B8}"/>
              </a:ext>
            </a:extLst>
          </p:cNvPr>
          <p:cNvSpPr txBox="1"/>
          <p:nvPr/>
        </p:nvSpPr>
        <p:spPr>
          <a:xfrm>
            <a:off x="2106722" y="6252841"/>
            <a:ext cx="8308736" cy="33855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LT-Black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LT-Black"/>
                <a:ea typeface="+mn-ea"/>
                <a:cs typeface="+mn-cs"/>
              </a:rPr>
              <a:t>Source: Global AIDS Monitoring 2022; UNAIDS epidemiological estimates, 2022</a:t>
            </a:r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AE55B26D-D4F5-404B-8E07-E63C90D8B5BE}"/>
              </a:ext>
            </a:extLst>
          </p:cNvPr>
          <p:cNvGraphicFramePr>
            <a:graphicFrameLocks/>
          </p:cNvGraphicFramePr>
          <p:nvPr/>
        </p:nvGraphicFramePr>
        <p:xfrm>
          <a:off x="748145" y="794327"/>
          <a:ext cx="10030691" cy="5458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Oval 5">
            <a:extLst>
              <a:ext uri="{FF2B5EF4-FFF2-40B4-BE49-F238E27FC236}">
                <a16:creationId xmlns:a16="http://schemas.microsoft.com/office/drawing/2014/main" id="{2F7923DD-EF1B-4C20-B3E4-9AEC2F754C64}"/>
              </a:ext>
            </a:extLst>
          </p:cNvPr>
          <p:cNvSpPr/>
          <p:nvPr/>
        </p:nvSpPr>
        <p:spPr>
          <a:xfrm rot="19558900">
            <a:off x="2125195" y="2401456"/>
            <a:ext cx="1173018" cy="424872"/>
          </a:xfrm>
          <a:prstGeom prst="ellipse">
            <a:avLst/>
          </a:prstGeom>
          <a:noFill/>
          <a:ln>
            <a:solidFill>
              <a:srgbClr val="00B0F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11B3F2D3-C5A3-477E-9F98-844F4EB645B0}"/>
              </a:ext>
            </a:extLst>
          </p:cNvPr>
          <p:cNvSpPr/>
          <p:nvPr/>
        </p:nvSpPr>
        <p:spPr>
          <a:xfrm rot="18369934">
            <a:off x="4606366" y="3129941"/>
            <a:ext cx="1173018" cy="424872"/>
          </a:xfrm>
          <a:prstGeom prst="ellipse">
            <a:avLst/>
          </a:prstGeom>
          <a:noFill/>
          <a:ln>
            <a:solidFill>
              <a:srgbClr val="00B0F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261CD8FB-FD2F-43D8-AB83-90511737FF1E}"/>
              </a:ext>
            </a:extLst>
          </p:cNvPr>
          <p:cNvSpPr/>
          <p:nvPr/>
        </p:nvSpPr>
        <p:spPr>
          <a:xfrm rot="19558900">
            <a:off x="8151922" y="1931079"/>
            <a:ext cx="1173018" cy="424872"/>
          </a:xfrm>
          <a:prstGeom prst="ellipse">
            <a:avLst/>
          </a:prstGeom>
          <a:noFill/>
          <a:ln>
            <a:solidFill>
              <a:srgbClr val="00B0F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1ED145B-7A30-4A7B-8916-B861D641FD5C}"/>
              </a:ext>
            </a:extLst>
          </p:cNvPr>
          <p:cNvSpPr/>
          <p:nvPr/>
        </p:nvSpPr>
        <p:spPr>
          <a:xfrm rot="19558900">
            <a:off x="2125194" y="2401457"/>
            <a:ext cx="1173018" cy="424872"/>
          </a:xfrm>
          <a:prstGeom prst="ellipse">
            <a:avLst/>
          </a:prstGeom>
          <a:noFill/>
          <a:ln>
            <a:solidFill>
              <a:srgbClr val="00B0F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1" name="Image" descr="Image">
            <a:extLst>
              <a:ext uri="{FF2B5EF4-FFF2-40B4-BE49-F238E27FC236}">
                <a16:creationId xmlns:a16="http://schemas.microsoft.com/office/drawing/2014/main" id="{3476FB22-F748-483C-B45C-22CFE4932B6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28241" y="5920356"/>
            <a:ext cx="2663759" cy="93764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7514521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A16C694-F862-4C4C-9C63-3EDF71525B4E}"/>
              </a:ext>
            </a:extLst>
          </p:cNvPr>
          <p:cNvSpPr txBox="1">
            <a:spLocks/>
          </p:cNvSpPr>
          <p:nvPr/>
        </p:nvSpPr>
        <p:spPr>
          <a:xfrm>
            <a:off x="0" y="-43543"/>
            <a:ext cx="12192000" cy="668273"/>
          </a:xfrm>
          <a:prstGeom prst="rect">
            <a:avLst/>
          </a:prstGeom>
          <a:solidFill>
            <a:srgbClr val="0070C0"/>
          </a:solidFill>
        </p:spPr>
        <p:txBody>
          <a:bodyPr vert="horz" wrap="none" lIns="182880" tIns="91440" rIns="182880" bIns="45720" rtlCol="0" anchor="ctr" anchorCtr="1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600" b="1" i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ale key populations bear quite the burden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Arial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83F1A48-D934-4E48-B71D-E1881296119A}"/>
              </a:ext>
            </a:extLst>
          </p:cNvPr>
          <p:cNvSpPr txBox="1"/>
          <p:nvPr/>
        </p:nvSpPr>
        <p:spPr>
          <a:xfrm>
            <a:off x="2372865" y="6349430"/>
            <a:ext cx="744626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205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rce: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205C"/>
                </a:solidFill>
                <a:effectLst/>
                <a:uLnTx/>
                <a:uFillTx/>
                <a:latin typeface="AvenirLTStd-Heavy"/>
                <a:ea typeface="+mn-ea"/>
                <a:cs typeface="+mn-cs"/>
              </a:rPr>
              <a:t>In Danger: UNAIDS Global AIDS Update 2022 https://www.unaids.org/en/resources/documents/2022/in-danger-global-aids-updat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00205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1CDCE073-BE58-4D8C-81AF-B29C4A5A50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14905" y="856709"/>
            <a:ext cx="7602371" cy="4883319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F12D4077-6F33-4F20-A7BB-6F26F3EB1140}"/>
              </a:ext>
            </a:extLst>
          </p:cNvPr>
          <p:cNvSpPr txBox="1"/>
          <p:nvPr/>
        </p:nvSpPr>
        <p:spPr>
          <a:xfrm>
            <a:off x="268269" y="2636650"/>
            <a:ext cx="3291540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 Bold" charset="0"/>
                <a:ea typeface="ＭＳ Ｐゴシック" pitchFamily="34" charset="-128"/>
                <a:cs typeface="+mn-cs"/>
              </a:rPr>
              <a:t>Distribution of acquisition of new HIV infections by population, global, sub-Saharan Africa and rest of the world, 2021</a:t>
            </a:r>
          </a:p>
        </p:txBody>
      </p:sp>
      <p:pic>
        <p:nvPicPr>
          <p:cNvPr id="24" name="Image" descr="Image">
            <a:extLst>
              <a:ext uri="{FF2B5EF4-FFF2-40B4-BE49-F238E27FC236}">
                <a16:creationId xmlns:a16="http://schemas.microsoft.com/office/drawing/2014/main" id="{5B0D2A52-16BD-4D53-A776-90FD803EF76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19134" y="6001289"/>
            <a:ext cx="2313916" cy="814499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1418902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2299868E-EF1F-4911-9569-6BAE456A1715}"/>
              </a:ext>
            </a:extLst>
          </p:cNvPr>
          <p:cNvSpPr txBox="1"/>
          <p:nvPr/>
        </p:nvSpPr>
        <p:spPr>
          <a:xfrm>
            <a:off x="0" y="0"/>
            <a:ext cx="12192000" cy="584775"/>
          </a:xfrm>
          <a:prstGeom prst="rect">
            <a:avLst/>
          </a:prstGeom>
          <a:solidFill>
            <a:srgbClr val="0070C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New studies show we need to ask ‘questions of the answers’</a:t>
            </a:r>
          </a:p>
        </p:txBody>
      </p:sp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EE4112EC-805E-4A78-90B6-73F20DFA7324}"/>
              </a:ext>
            </a:extLst>
          </p:cNvPr>
          <p:cNvGraphicFramePr/>
          <p:nvPr/>
        </p:nvGraphicFramePr>
        <p:xfrm>
          <a:off x="68504" y="685737"/>
          <a:ext cx="5927635" cy="50596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B1B49AB8-4911-4F12-A1FA-2447727356B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447459" y="743643"/>
            <a:ext cx="2874674" cy="231306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29E932F-B4EF-494D-868A-88B9C3C8ADC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687063" y="584775"/>
            <a:ext cx="3178653" cy="2541602"/>
          </a:xfrm>
          <a:prstGeom prst="rect">
            <a:avLst/>
          </a:prstGeom>
        </p:spPr>
      </p:pic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2BA305F0-734D-44FC-B919-EAF389496D19}"/>
              </a:ext>
            </a:extLst>
          </p:cNvPr>
          <p:cNvSpPr/>
          <p:nvPr/>
        </p:nvSpPr>
        <p:spPr>
          <a:xfrm>
            <a:off x="6335199" y="3726255"/>
            <a:ext cx="5788297" cy="3066430"/>
          </a:xfrm>
          <a:prstGeom prst="roundRect">
            <a:avLst/>
          </a:prstGeom>
          <a:solidFill>
            <a:srgbClr val="0070C0"/>
          </a:solidFill>
          <a:ln>
            <a:noFill/>
            <a:prstDash val="lgDashDot"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GB" sz="16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losing the suppression gap in men would support the reduction of new infections by half among women</a:t>
            </a:r>
            <a:endParaRPr lang="en-US" sz="16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GB" sz="16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n aged 25-40 should be the focus of treatment for prevention. This emphasis would improve the health of men as well as the health of their families and partners.  </a:t>
            </a:r>
            <a:endParaRPr lang="en-US" sz="16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GB" sz="16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ccess to HIV testing remains critical to ensure timeous testing following seroconversion and to support re-engagement and linkage to HIV prevention services 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GB" sz="1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IV services must be inclusive of men to ensure we reach global AIDS targets and end HIV as a public health threat by 2030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6B6D944-C411-4856-8E12-F2E199F93E62}"/>
              </a:ext>
            </a:extLst>
          </p:cNvPr>
          <p:cNvSpPr txBox="1"/>
          <p:nvPr/>
        </p:nvSpPr>
        <p:spPr>
          <a:xfrm>
            <a:off x="5773783" y="3095247"/>
            <a:ext cx="6418217" cy="59247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>
              <a:defRPr sz="1600">
                <a:solidFill>
                  <a:prstClr val="black"/>
                </a:solidFill>
                <a:latin typeface="AvenirLT-Black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AvenirLT-Black"/>
                <a:ea typeface="+mn-ea"/>
                <a:cs typeface="+mn-cs"/>
              </a:rPr>
              <a:t>Pre-prints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LT-Black"/>
                <a:ea typeface="+mn-ea"/>
                <a:cs typeface="+mn-cs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LT-Black"/>
                <a:ea typeface="+mn-ea"/>
                <a:cs typeface="+mn-cs"/>
              </a:rPr>
              <a:t>Mélodie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LT-Black"/>
                <a:ea typeface="+mn-ea"/>
                <a:cs typeface="+mn-cs"/>
              </a:rPr>
              <a:t> Monod </a:t>
            </a:r>
            <a:r>
              <a:rPr kumimoji="0" lang="en-GB" sz="105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LT-Black"/>
                <a:ea typeface="+mn-ea"/>
                <a:cs typeface="+mn-cs"/>
              </a:rPr>
              <a:t>et al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LT-Black"/>
                <a:ea typeface="+mn-ea"/>
                <a:cs typeface="+mn-cs"/>
              </a:rPr>
              <a:t>., 2023,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LT-Black"/>
                <a:ea typeface="+mn-ea"/>
                <a:cs typeface="+mn-cs"/>
              </a:rPr>
              <a:t>Growing gender disparity in HIV infection in Africa: sources and policy implications; Matthew Hall et al., 2023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NexusSerifWebPro"/>
                <a:ea typeface="+mn-ea"/>
                <a:cs typeface="+mn-cs"/>
              </a:rPr>
              <a:t>Demographics of People Who Transmit HIV-1 in Zambia: A Molecular Epidemiology Analysis in the HPTN-071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NexusSerifWebPro"/>
                <a:ea typeface="+mn-ea"/>
                <a:cs typeface="+mn-cs"/>
              </a:rPr>
              <a:t>PopART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NexusSerifWebPro"/>
                <a:ea typeface="+mn-ea"/>
                <a:cs typeface="+mn-cs"/>
              </a:rPr>
              <a:t> Study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LT-Blac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47282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CF36D796-92D7-974C-8474-1DE74FCC6983}"/>
              </a:ext>
            </a:extLst>
          </p:cNvPr>
          <p:cNvGrpSpPr/>
          <p:nvPr/>
        </p:nvGrpSpPr>
        <p:grpSpPr>
          <a:xfrm>
            <a:off x="1169675" y="1144214"/>
            <a:ext cx="9852650" cy="4749314"/>
            <a:chOff x="2063855" y="3455373"/>
            <a:chExt cx="19705300" cy="9498627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E93A9C00-ED56-884E-992B-CC5EB08467AF}"/>
                </a:ext>
              </a:extLst>
            </p:cNvPr>
            <p:cNvGrpSpPr/>
            <p:nvPr/>
          </p:nvGrpSpPr>
          <p:grpSpPr>
            <a:xfrm>
              <a:off x="2063855" y="3455373"/>
              <a:ext cx="4196831" cy="9498627"/>
              <a:chOff x="3146377" y="3455373"/>
              <a:chExt cx="4196831" cy="9498627"/>
            </a:xfrm>
          </p:grpSpPr>
          <p:sp useBgFill="1">
            <p:nvSpPr>
              <p:cNvPr id="6145" name="Freeform 1">
                <a:extLst>
                  <a:ext uri="{FF2B5EF4-FFF2-40B4-BE49-F238E27FC236}">
                    <a16:creationId xmlns:a16="http://schemas.microsoft.com/office/drawing/2014/main" id="{DA8CD7EA-9563-F44E-9CFF-39771BF2E8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15331" y="3539853"/>
                <a:ext cx="3855544" cy="5021329"/>
              </a:xfrm>
              <a:custGeom>
                <a:avLst/>
                <a:gdLst>
                  <a:gd name="T0" fmla="*/ 4994 w 5033"/>
                  <a:gd name="T1" fmla="*/ 6551 h 6552"/>
                  <a:gd name="T2" fmla="*/ 39 w 5033"/>
                  <a:gd name="T3" fmla="*/ 6551 h 6552"/>
                  <a:gd name="T4" fmla="*/ 39 w 5033"/>
                  <a:gd name="T5" fmla="*/ 6551 h 6552"/>
                  <a:gd name="T6" fmla="*/ 0 w 5033"/>
                  <a:gd name="T7" fmla="*/ 6512 h 6552"/>
                  <a:gd name="T8" fmla="*/ 0 w 5033"/>
                  <a:gd name="T9" fmla="*/ 39 h 6552"/>
                  <a:gd name="T10" fmla="*/ 0 w 5033"/>
                  <a:gd name="T11" fmla="*/ 39 h 6552"/>
                  <a:gd name="T12" fmla="*/ 39 w 5033"/>
                  <a:gd name="T13" fmla="*/ 0 h 6552"/>
                  <a:gd name="T14" fmla="*/ 4994 w 5033"/>
                  <a:gd name="T15" fmla="*/ 0 h 6552"/>
                  <a:gd name="T16" fmla="*/ 4994 w 5033"/>
                  <a:gd name="T17" fmla="*/ 0 h 6552"/>
                  <a:gd name="T18" fmla="*/ 5032 w 5033"/>
                  <a:gd name="T19" fmla="*/ 39 h 6552"/>
                  <a:gd name="T20" fmla="*/ 5032 w 5033"/>
                  <a:gd name="T21" fmla="*/ 6512 h 6552"/>
                  <a:gd name="T22" fmla="*/ 5032 w 5033"/>
                  <a:gd name="T23" fmla="*/ 6512 h 6552"/>
                  <a:gd name="T24" fmla="*/ 4994 w 5033"/>
                  <a:gd name="T25" fmla="*/ 6551 h 65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033" h="6552">
                    <a:moveTo>
                      <a:pt x="4994" y="6551"/>
                    </a:moveTo>
                    <a:lnTo>
                      <a:pt x="39" y="6551"/>
                    </a:lnTo>
                    <a:lnTo>
                      <a:pt x="39" y="6551"/>
                    </a:lnTo>
                    <a:cubicBezTo>
                      <a:pt x="17" y="6551"/>
                      <a:pt x="0" y="6533"/>
                      <a:pt x="0" y="6512"/>
                    </a:cubicBezTo>
                    <a:lnTo>
                      <a:pt x="0" y="39"/>
                    </a:lnTo>
                    <a:lnTo>
                      <a:pt x="0" y="39"/>
                    </a:lnTo>
                    <a:cubicBezTo>
                      <a:pt x="0" y="17"/>
                      <a:pt x="17" y="0"/>
                      <a:pt x="39" y="0"/>
                    </a:cubicBezTo>
                    <a:lnTo>
                      <a:pt x="4994" y="0"/>
                    </a:lnTo>
                    <a:lnTo>
                      <a:pt x="4994" y="0"/>
                    </a:lnTo>
                    <a:cubicBezTo>
                      <a:pt x="5015" y="0"/>
                      <a:pt x="5032" y="17"/>
                      <a:pt x="5032" y="39"/>
                    </a:cubicBezTo>
                    <a:lnTo>
                      <a:pt x="5032" y="6512"/>
                    </a:lnTo>
                    <a:lnTo>
                      <a:pt x="5032" y="6512"/>
                    </a:lnTo>
                    <a:cubicBezTo>
                      <a:pt x="5032" y="6533"/>
                      <a:pt x="5015" y="6551"/>
                      <a:pt x="4994" y="6551"/>
                    </a:cubicBezTo>
                  </a:path>
                </a:pathLst>
              </a:custGeom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2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66" b="0" i="0" u="none" strike="noStrike" kern="1200" cap="none" spc="0" normalizeH="0" baseline="0" noProof="0" dirty="0">
                  <a:ln>
                    <a:noFill/>
                  </a:ln>
                  <a:solidFill>
                    <a:srgbClr val="737572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6146" name="Freeform 2">
                <a:extLst>
                  <a:ext uri="{FF2B5EF4-FFF2-40B4-BE49-F238E27FC236}">
                    <a16:creationId xmlns:a16="http://schemas.microsoft.com/office/drawing/2014/main" id="{AD049DB1-4F85-E744-8CCA-15A407274A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30855" y="3455373"/>
                <a:ext cx="4027876" cy="5190283"/>
              </a:xfrm>
              <a:custGeom>
                <a:avLst/>
                <a:gdLst>
                  <a:gd name="T0" fmla="*/ 554 w 5255"/>
                  <a:gd name="T1" fmla="*/ 221 h 6774"/>
                  <a:gd name="T2" fmla="*/ 554 w 5255"/>
                  <a:gd name="T3" fmla="*/ 221 h 6774"/>
                  <a:gd name="T4" fmla="*/ 221 w 5255"/>
                  <a:gd name="T5" fmla="*/ 554 h 6774"/>
                  <a:gd name="T6" fmla="*/ 221 w 5255"/>
                  <a:gd name="T7" fmla="*/ 6219 h 6774"/>
                  <a:gd name="T8" fmla="*/ 221 w 5255"/>
                  <a:gd name="T9" fmla="*/ 6219 h 6774"/>
                  <a:gd name="T10" fmla="*/ 554 w 5255"/>
                  <a:gd name="T11" fmla="*/ 6551 h 6774"/>
                  <a:gd name="T12" fmla="*/ 4700 w 5255"/>
                  <a:gd name="T13" fmla="*/ 6551 h 6774"/>
                  <a:gd name="T14" fmla="*/ 4700 w 5255"/>
                  <a:gd name="T15" fmla="*/ 6551 h 6774"/>
                  <a:gd name="T16" fmla="*/ 5033 w 5255"/>
                  <a:gd name="T17" fmla="*/ 6219 h 6774"/>
                  <a:gd name="T18" fmla="*/ 5033 w 5255"/>
                  <a:gd name="T19" fmla="*/ 554 h 6774"/>
                  <a:gd name="T20" fmla="*/ 5033 w 5255"/>
                  <a:gd name="T21" fmla="*/ 554 h 6774"/>
                  <a:gd name="T22" fmla="*/ 4700 w 5255"/>
                  <a:gd name="T23" fmla="*/ 221 h 6774"/>
                  <a:gd name="T24" fmla="*/ 554 w 5255"/>
                  <a:gd name="T25" fmla="*/ 221 h 6774"/>
                  <a:gd name="T26" fmla="*/ 4700 w 5255"/>
                  <a:gd name="T27" fmla="*/ 6773 h 6774"/>
                  <a:gd name="T28" fmla="*/ 554 w 5255"/>
                  <a:gd name="T29" fmla="*/ 6773 h 6774"/>
                  <a:gd name="T30" fmla="*/ 554 w 5255"/>
                  <a:gd name="T31" fmla="*/ 6773 h 6774"/>
                  <a:gd name="T32" fmla="*/ 0 w 5255"/>
                  <a:gd name="T33" fmla="*/ 6219 h 6774"/>
                  <a:gd name="T34" fmla="*/ 0 w 5255"/>
                  <a:gd name="T35" fmla="*/ 554 h 6774"/>
                  <a:gd name="T36" fmla="*/ 0 w 5255"/>
                  <a:gd name="T37" fmla="*/ 554 h 6774"/>
                  <a:gd name="T38" fmla="*/ 554 w 5255"/>
                  <a:gd name="T39" fmla="*/ 0 h 6774"/>
                  <a:gd name="T40" fmla="*/ 4700 w 5255"/>
                  <a:gd name="T41" fmla="*/ 0 h 6774"/>
                  <a:gd name="T42" fmla="*/ 4700 w 5255"/>
                  <a:gd name="T43" fmla="*/ 0 h 6774"/>
                  <a:gd name="T44" fmla="*/ 5254 w 5255"/>
                  <a:gd name="T45" fmla="*/ 554 h 6774"/>
                  <a:gd name="T46" fmla="*/ 5254 w 5255"/>
                  <a:gd name="T47" fmla="*/ 6219 h 6774"/>
                  <a:gd name="T48" fmla="*/ 5254 w 5255"/>
                  <a:gd name="T49" fmla="*/ 6219 h 6774"/>
                  <a:gd name="T50" fmla="*/ 4700 w 5255"/>
                  <a:gd name="T51" fmla="*/ 6773 h 67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255" h="6774">
                    <a:moveTo>
                      <a:pt x="554" y="221"/>
                    </a:moveTo>
                    <a:lnTo>
                      <a:pt x="554" y="221"/>
                    </a:lnTo>
                    <a:cubicBezTo>
                      <a:pt x="371" y="221"/>
                      <a:pt x="221" y="370"/>
                      <a:pt x="221" y="554"/>
                    </a:cubicBezTo>
                    <a:lnTo>
                      <a:pt x="221" y="6219"/>
                    </a:lnTo>
                    <a:lnTo>
                      <a:pt x="221" y="6219"/>
                    </a:lnTo>
                    <a:cubicBezTo>
                      <a:pt x="221" y="6402"/>
                      <a:pt x="371" y="6551"/>
                      <a:pt x="554" y="6551"/>
                    </a:cubicBezTo>
                    <a:lnTo>
                      <a:pt x="4700" y="6551"/>
                    </a:lnTo>
                    <a:lnTo>
                      <a:pt x="4700" y="6551"/>
                    </a:lnTo>
                    <a:cubicBezTo>
                      <a:pt x="4884" y="6551"/>
                      <a:pt x="5033" y="6402"/>
                      <a:pt x="5033" y="6219"/>
                    </a:cubicBezTo>
                    <a:lnTo>
                      <a:pt x="5033" y="554"/>
                    </a:lnTo>
                    <a:lnTo>
                      <a:pt x="5033" y="554"/>
                    </a:lnTo>
                    <a:cubicBezTo>
                      <a:pt x="5033" y="370"/>
                      <a:pt x="4884" y="221"/>
                      <a:pt x="4700" y="221"/>
                    </a:cubicBezTo>
                    <a:lnTo>
                      <a:pt x="554" y="221"/>
                    </a:lnTo>
                    <a:close/>
                    <a:moveTo>
                      <a:pt x="4700" y="6773"/>
                    </a:moveTo>
                    <a:lnTo>
                      <a:pt x="554" y="6773"/>
                    </a:lnTo>
                    <a:lnTo>
                      <a:pt x="554" y="6773"/>
                    </a:lnTo>
                    <a:cubicBezTo>
                      <a:pt x="249" y="6773"/>
                      <a:pt x="0" y="6525"/>
                      <a:pt x="0" y="6219"/>
                    </a:cubicBezTo>
                    <a:lnTo>
                      <a:pt x="0" y="554"/>
                    </a:lnTo>
                    <a:lnTo>
                      <a:pt x="0" y="554"/>
                    </a:lnTo>
                    <a:cubicBezTo>
                      <a:pt x="0" y="249"/>
                      <a:pt x="249" y="0"/>
                      <a:pt x="554" y="0"/>
                    </a:cubicBezTo>
                    <a:lnTo>
                      <a:pt x="4700" y="0"/>
                    </a:lnTo>
                    <a:lnTo>
                      <a:pt x="4700" y="0"/>
                    </a:lnTo>
                    <a:cubicBezTo>
                      <a:pt x="5006" y="0"/>
                      <a:pt x="5254" y="249"/>
                      <a:pt x="5254" y="554"/>
                    </a:cubicBezTo>
                    <a:lnTo>
                      <a:pt x="5254" y="6219"/>
                    </a:lnTo>
                    <a:lnTo>
                      <a:pt x="5254" y="6219"/>
                    </a:lnTo>
                    <a:cubicBezTo>
                      <a:pt x="5254" y="6525"/>
                      <a:pt x="5006" y="6773"/>
                      <a:pt x="4700" y="6773"/>
                    </a:cubicBezTo>
                    <a:close/>
                  </a:path>
                </a:pathLst>
              </a:custGeom>
              <a:solidFill>
                <a:srgbClr val="FFC000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2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66" b="0" i="0" u="none" strike="noStrike" kern="1200" cap="none" spc="0" normalizeH="0" baseline="0" noProof="0" dirty="0">
                  <a:ln>
                    <a:noFill/>
                  </a:ln>
                  <a:solidFill>
                    <a:srgbClr val="737572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6147" name="Freeform 3">
                <a:extLst>
                  <a:ext uri="{FF2B5EF4-FFF2-40B4-BE49-F238E27FC236}">
                    <a16:creationId xmlns:a16="http://schemas.microsoft.com/office/drawing/2014/main" id="{F74B03B6-0D3A-9845-B5B8-480523A925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15331" y="7331192"/>
                <a:ext cx="3855544" cy="5457230"/>
              </a:xfrm>
              <a:custGeom>
                <a:avLst/>
                <a:gdLst>
                  <a:gd name="T0" fmla="*/ 2516 w 5033"/>
                  <a:gd name="T1" fmla="*/ 0 h 7120"/>
                  <a:gd name="T2" fmla="*/ 1263 w 5033"/>
                  <a:gd name="T3" fmla="*/ 1704 h 7120"/>
                  <a:gd name="T4" fmla="*/ 1800 w 5033"/>
                  <a:gd name="T5" fmla="*/ 1704 h 7120"/>
                  <a:gd name="T6" fmla="*/ 1800 w 5033"/>
                  <a:gd name="T7" fmla="*/ 2191 h 7120"/>
                  <a:gd name="T8" fmla="*/ 1800 w 5033"/>
                  <a:gd name="T9" fmla="*/ 2191 h 7120"/>
                  <a:gd name="T10" fmla="*/ 0 w 5033"/>
                  <a:gd name="T11" fmla="*/ 4602 h 7120"/>
                  <a:gd name="T12" fmla="*/ 0 w 5033"/>
                  <a:gd name="T13" fmla="*/ 4602 h 7120"/>
                  <a:gd name="T14" fmla="*/ 2516 w 5033"/>
                  <a:gd name="T15" fmla="*/ 7119 h 7120"/>
                  <a:gd name="T16" fmla="*/ 2516 w 5033"/>
                  <a:gd name="T17" fmla="*/ 7119 h 7120"/>
                  <a:gd name="T18" fmla="*/ 5032 w 5033"/>
                  <a:gd name="T19" fmla="*/ 4602 h 7120"/>
                  <a:gd name="T20" fmla="*/ 5032 w 5033"/>
                  <a:gd name="T21" fmla="*/ 4602 h 7120"/>
                  <a:gd name="T22" fmla="*/ 3232 w 5033"/>
                  <a:gd name="T23" fmla="*/ 2191 h 7120"/>
                  <a:gd name="T24" fmla="*/ 3232 w 5033"/>
                  <a:gd name="T25" fmla="*/ 1704 h 7120"/>
                  <a:gd name="T26" fmla="*/ 3770 w 5033"/>
                  <a:gd name="T27" fmla="*/ 1704 h 7120"/>
                  <a:gd name="T28" fmla="*/ 2516 w 5033"/>
                  <a:gd name="T29" fmla="*/ 0 h 7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033" h="7120">
                    <a:moveTo>
                      <a:pt x="2516" y="0"/>
                    </a:moveTo>
                    <a:lnTo>
                      <a:pt x="1263" y="1704"/>
                    </a:lnTo>
                    <a:lnTo>
                      <a:pt x="1800" y="1704"/>
                    </a:lnTo>
                    <a:lnTo>
                      <a:pt x="1800" y="2191"/>
                    </a:lnTo>
                    <a:lnTo>
                      <a:pt x="1800" y="2191"/>
                    </a:lnTo>
                    <a:cubicBezTo>
                      <a:pt x="760" y="2500"/>
                      <a:pt x="0" y="3462"/>
                      <a:pt x="0" y="4602"/>
                    </a:cubicBezTo>
                    <a:lnTo>
                      <a:pt x="0" y="4602"/>
                    </a:lnTo>
                    <a:cubicBezTo>
                      <a:pt x="0" y="5992"/>
                      <a:pt x="1127" y="7119"/>
                      <a:pt x="2516" y="7119"/>
                    </a:cubicBezTo>
                    <a:lnTo>
                      <a:pt x="2516" y="7119"/>
                    </a:lnTo>
                    <a:cubicBezTo>
                      <a:pt x="3906" y="7119"/>
                      <a:pt x="5032" y="5992"/>
                      <a:pt x="5032" y="4602"/>
                    </a:cubicBezTo>
                    <a:lnTo>
                      <a:pt x="5032" y="4602"/>
                    </a:lnTo>
                    <a:cubicBezTo>
                      <a:pt x="5032" y="3462"/>
                      <a:pt x="4273" y="2500"/>
                      <a:pt x="3232" y="2191"/>
                    </a:cubicBezTo>
                    <a:lnTo>
                      <a:pt x="3232" y="1704"/>
                    </a:lnTo>
                    <a:lnTo>
                      <a:pt x="3770" y="1704"/>
                    </a:lnTo>
                    <a:lnTo>
                      <a:pt x="2516" y="0"/>
                    </a:lnTo>
                  </a:path>
                </a:pathLst>
              </a:custGeom>
              <a:solidFill>
                <a:srgbClr val="FFC000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2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66" b="0" i="0" u="none" strike="noStrike" kern="1200" cap="none" spc="0" normalizeH="0" baseline="0" noProof="0" dirty="0">
                  <a:ln>
                    <a:noFill/>
                  </a:ln>
                  <a:solidFill>
                    <a:srgbClr val="737572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endParaRPr>
              </a:p>
            </p:txBody>
          </p:sp>
          <p:sp useBgFill="1">
            <p:nvSpPr>
              <p:cNvPr id="6148" name="Freeform 4">
                <a:extLst>
                  <a:ext uri="{FF2B5EF4-FFF2-40B4-BE49-F238E27FC236}">
                    <a16:creationId xmlns:a16="http://schemas.microsoft.com/office/drawing/2014/main" id="{26F06C32-5AA2-C74A-A47D-2579383563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6377" y="7158857"/>
                <a:ext cx="4196831" cy="5795143"/>
              </a:xfrm>
              <a:custGeom>
                <a:avLst/>
                <a:gdLst>
                  <a:gd name="T0" fmla="*/ 2738 w 5477"/>
                  <a:gd name="T1" fmla="*/ 0 h 7563"/>
                  <a:gd name="T2" fmla="*/ 2738 w 5477"/>
                  <a:gd name="T3" fmla="*/ 0 h 7563"/>
                  <a:gd name="T4" fmla="*/ 2560 w 5477"/>
                  <a:gd name="T5" fmla="*/ 91 h 7563"/>
                  <a:gd name="T6" fmla="*/ 1306 w 5477"/>
                  <a:gd name="T7" fmla="*/ 1795 h 7563"/>
                  <a:gd name="T8" fmla="*/ 1306 w 5477"/>
                  <a:gd name="T9" fmla="*/ 1795 h 7563"/>
                  <a:gd name="T10" fmla="*/ 1287 w 5477"/>
                  <a:gd name="T11" fmla="*/ 2026 h 7563"/>
                  <a:gd name="T12" fmla="*/ 1287 w 5477"/>
                  <a:gd name="T13" fmla="*/ 2026 h 7563"/>
                  <a:gd name="T14" fmla="*/ 1485 w 5477"/>
                  <a:gd name="T15" fmla="*/ 2148 h 7563"/>
                  <a:gd name="T16" fmla="*/ 1800 w 5477"/>
                  <a:gd name="T17" fmla="*/ 2148 h 7563"/>
                  <a:gd name="T18" fmla="*/ 1800 w 5477"/>
                  <a:gd name="T19" fmla="*/ 2253 h 7563"/>
                  <a:gd name="T20" fmla="*/ 1800 w 5477"/>
                  <a:gd name="T21" fmla="*/ 2253 h 7563"/>
                  <a:gd name="T22" fmla="*/ 0 w 5477"/>
                  <a:gd name="T23" fmla="*/ 4824 h 7563"/>
                  <a:gd name="T24" fmla="*/ 0 w 5477"/>
                  <a:gd name="T25" fmla="*/ 4824 h 7563"/>
                  <a:gd name="T26" fmla="*/ 2738 w 5477"/>
                  <a:gd name="T27" fmla="*/ 7562 h 7563"/>
                  <a:gd name="T28" fmla="*/ 2738 w 5477"/>
                  <a:gd name="T29" fmla="*/ 7562 h 7563"/>
                  <a:gd name="T30" fmla="*/ 5476 w 5477"/>
                  <a:gd name="T31" fmla="*/ 4824 h 7563"/>
                  <a:gd name="T32" fmla="*/ 5476 w 5477"/>
                  <a:gd name="T33" fmla="*/ 4824 h 7563"/>
                  <a:gd name="T34" fmla="*/ 3676 w 5477"/>
                  <a:gd name="T35" fmla="*/ 2253 h 7563"/>
                  <a:gd name="T36" fmla="*/ 3676 w 5477"/>
                  <a:gd name="T37" fmla="*/ 2148 h 7563"/>
                  <a:gd name="T38" fmla="*/ 3992 w 5477"/>
                  <a:gd name="T39" fmla="*/ 2148 h 7563"/>
                  <a:gd name="T40" fmla="*/ 3992 w 5477"/>
                  <a:gd name="T41" fmla="*/ 2148 h 7563"/>
                  <a:gd name="T42" fmla="*/ 4189 w 5477"/>
                  <a:gd name="T43" fmla="*/ 2026 h 7563"/>
                  <a:gd name="T44" fmla="*/ 4189 w 5477"/>
                  <a:gd name="T45" fmla="*/ 2026 h 7563"/>
                  <a:gd name="T46" fmla="*/ 4170 w 5477"/>
                  <a:gd name="T47" fmla="*/ 1795 h 7563"/>
                  <a:gd name="T48" fmla="*/ 2917 w 5477"/>
                  <a:gd name="T49" fmla="*/ 91 h 7563"/>
                  <a:gd name="T50" fmla="*/ 2917 w 5477"/>
                  <a:gd name="T51" fmla="*/ 91 h 7563"/>
                  <a:gd name="T52" fmla="*/ 2738 w 5477"/>
                  <a:gd name="T53" fmla="*/ 0 h 7563"/>
                  <a:gd name="T54" fmla="*/ 2738 w 5477"/>
                  <a:gd name="T55" fmla="*/ 222 h 7563"/>
                  <a:gd name="T56" fmla="*/ 3992 w 5477"/>
                  <a:gd name="T57" fmla="*/ 1926 h 7563"/>
                  <a:gd name="T58" fmla="*/ 3454 w 5477"/>
                  <a:gd name="T59" fmla="*/ 1926 h 7563"/>
                  <a:gd name="T60" fmla="*/ 3454 w 5477"/>
                  <a:gd name="T61" fmla="*/ 2413 h 7563"/>
                  <a:gd name="T62" fmla="*/ 3454 w 5477"/>
                  <a:gd name="T63" fmla="*/ 2413 h 7563"/>
                  <a:gd name="T64" fmla="*/ 5254 w 5477"/>
                  <a:gd name="T65" fmla="*/ 4824 h 7563"/>
                  <a:gd name="T66" fmla="*/ 5254 w 5477"/>
                  <a:gd name="T67" fmla="*/ 4824 h 7563"/>
                  <a:gd name="T68" fmla="*/ 2738 w 5477"/>
                  <a:gd name="T69" fmla="*/ 7341 h 7563"/>
                  <a:gd name="T70" fmla="*/ 2738 w 5477"/>
                  <a:gd name="T71" fmla="*/ 7341 h 7563"/>
                  <a:gd name="T72" fmla="*/ 222 w 5477"/>
                  <a:gd name="T73" fmla="*/ 4824 h 7563"/>
                  <a:gd name="T74" fmla="*/ 222 w 5477"/>
                  <a:gd name="T75" fmla="*/ 4824 h 7563"/>
                  <a:gd name="T76" fmla="*/ 2022 w 5477"/>
                  <a:gd name="T77" fmla="*/ 2413 h 7563"/>
                  <a:gd name="T78" fmla="*/ 2022 w 5477"/>
                  <a:gd name="T79" fmla="*/ 1926 h 7563"/>
                  <a:gd name="T80" fmla="*/ 1485 w 5477"/>
                  <a:gd name="T81" fmla="*/ 1926 h 7563"/>
                  <a:gd name="T82" fmla="*/ 2738 w 5477"/>
                  <a:gd name="T83" fmla="*/ 222 h 75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5477" h="7563">
                    <a:moveTo>
                      <a:pt x="2738" y="0"/>
                    </a:moveTo>
                    <a:lnTo>
                      <a:pt x="2738" y="0"/>
                    </a:lnTo>
                    <a:cubicBezTo>
                      <a:pt x="2668" y="0"/>
                      <a:pt x="2601" y="34"/>
                      <a:pt x="2560" y="91"/>
                    </a:cubicBezTo>
                    <a:lnTo>
                      <a:pt x="1306" y="1795"/>
                    </a:lnTo>
                    <a:lnTo>
                      <a:pt x="1306" y="1795"/>
                    </a:lnTo>
                    <a:cubicBezTo>
                      <a:pt x="1256" y="1862"/>
                      <a:pt x="1249" y="1952"/>
                      <a:pt x="1287" y="2026"/>
                    </a:cubicBezTo>
                    <a:lnTo>
                      <a:pt x="1287" y="2026"/>
                    </a:lnTo>
                    <a:cubicBezTo>
                      <a:pt x="1324" y="2101"/>
                      <a:pt x="1401" y="2148"/>
                      <a:pt x="1485" y="2148"/>
                    </a:cubicBezTo>
                    <a:lnTo>
                      <a:pt x="1800" y="2148"/>
                    </a:lnTo>
                    <a:lnTo>
                      <a:pt x="1800" y="2253"/>
                    </a:lnTo>
                    <a:lnTo>
                      <a:pt x="1800" y="2253"/>
                    </a:lnTo>
                    <a:cubicBezTo>
                      <a:pt x="733" y="2643"/>
                      <a:pt x="0" y="3677"/>
                      <a:pt x="0" y="4824"/>
                    </a:cubicBezTo>
                    <a:lnTo>
                      <a:pt x="0" y="4824"/>
                    </a:lnTo>
                    <a:cubicBezTo>
                      <a:pt x="0" y="6334"/>
                      <a:pt x="1228" y="7562"/>
                      <a:pt x="2738" y="7562"/>
                    </a:cubicBezTo>
                    <a:lnTo>
                      <a:pt x="2738" y="7562"/>
                    </a:lnTo>
                    <a:cubicBezTo>
                      <a:pt x="4248" y="7562"/>
                      <a:pt x="5476" y="6334"/>
                      <a:pt x="5476" y="4824"/>
                    </a:cubicBezTo>
                    <a:lnTo>
                      <a:pt x="5476" y="4824"/>
                    </a:lnTo>
                    <a:cubicBezTo>
                      <a:pt x="5476" y="3677"/>
                      <a:pt x="4744" y="2643"/>
                      <a:pt x="3676" y="2253"/>
                    </a:cubicBezTo>
                    <a:lnTo>
                      <a:pt x="3676" y="2148"/>
                    </a:lnTo>
                    <a:lnTo>
                      <a:pt x="3992" y="2148"/>
                    </a:lnTo>
                    <a:lnTo>
                      <a:pt x="3992" y="2148"/>
                    </a:lnTo>
                    <a:cubicBezTo>
                      <a:pt x="4075" y="2148"/>
                      <a:pt x="4152" y="2101"/>
                      <a:pt x="4189" y="2026"/>
                    </a:cubicBezTo>
                    <a:lnTo>
                      <a:pt x="4189" y="2026"/>
                    </a:lnTo>
                    <a:cubicBezTo>
                      <a:pt x="4227" y="1952"/>
                      <a:pt x="4220" y="1862"/>
                      <a:pt x="4170" y="1795"/>
                    </a:cubicBezTo>
                    <a:lnTo>
                      <a:pt x="2917" y="91"/>
                    </a:lnTo>
                    <a:lnTo>
                      <a:pt x="2917" y="91"/>
                    </a:lnTo>
                    <a:cubicBezTo>
                      <a:pt x="2875" y="34"/>
                      <a:pt x="2809" y="0"/>
                      <a:pt x="2738" y="0"/>
                    </a:cubicBezTo>
                    <a:close/>
                    <a:moveTo>
                      <a:pt x="2738" y="222"/>
                    </a:moveTo>
                    <a:lnTo>
                      <a:pt x="3992" y="1926"/>
                    </a:lnTo>
                    <a:lnTo>
                      <a:pt x="3454" y="1926"/>
                    </a:lnTo>
                    <a:lnTo>
                      <a:pt x="3454" y="2413"/>
                    </a:lnTo>
                    <a:lnTo>
                      <a:pt x="3454" y="2413"/>
                    </a:lnTo>
                    <a:cubicBezTo>
                      <a:pt x="4495" y="2722"/>
                      <a:pt x="5254" y="3684"/>
                      <a:pt x="5254" y="4824"/>
                    </a:cubicBezTo>
                    <a:lnTo>
                      <a:pt x="5254" y="4824"/>
                    </a:lnTo>
                    <a:cubicBezTo>
                      <a:pt x="5254" y="6214"/>
                      <a:pt x="4128" y="7341"/>
                      <a:pt x="2738" y="7341"/>
                    </a:cubicBezTo>
                    <a:lnTo>
                      <a:pt x="2738" y="7341"/>
                    </a:lnTo>
                    <a:cubicBezTo>
                      <a:pt x="1349" y="7341"/>
                      <a:pt x="222" y="6214"/>
                      <a:pt x="222" y="4824"/>
                    </a:cubicBezTo>
                    <a:lnTo>
                      <a:pt x="222" y="4824"/>
                    </a:lnTo>
                    <a:cubicBezTo>
                      <a:pt x="222" y="3684"/>
                      <a:pt x="982" y="2721"/>
                      <a:pt x="2022" y="2413"/>
                    </a:cubicBezTo>
                    <a:lnTo>
                      <a:pt x="2022" y="1926"/>
                    </a:lnTo>
                    <a:lnTo>
                      <a:pt x="1485" y="1926"/>
                    </a:lnTo>
                    <a:lnTo>
                      <a:pt x="2738" y="222"/>
                    </a:lnTo>
                    <a:close/>
                  </a:path>
                </a:pathLst>
              </a:custGeom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2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66" b="0" i="0" u="none" strike="noStrike" kern="1200" cap="none" spc="0" normalizeH="0" baseline="0" noProof="0" dirty="0">
                  <a:ln>
                    <a:noFill/>
                  </a:ln>
                  <a:solidFill>
                    <a:srgbClr val="737572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endParaRPr>
              </a:p>
            </p:txBody>
          </p:sp>
          <p:sp useBgFill="1">
            <p:nvSpPr>
              <p:cNvPr id="6149" name="Freeform 5">
                <a:extLst>
                  <a:ext uri="{FF2B5EF4-FFF2-40B4-BE49-F238E27FC236}">
                    <a16:creationId xmlns:a16="http://schemas.microsoft.com/office/drawing/2014/main" id="{1DB25C47-D79B-1748-9935-1BF905A98E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83803" y="9397973"/>
                <a:ext cx="2938876" cy="2938876"/>
              </a:xfrm>
              <a:custGeom>
                <a:avLst/>
                <a:gdLst>
                  <a:gd name="T0" fmla="*/ 1695 w 3392"/>
                  <a:gd name="T1" fmla="*/ 0 h 3393"/>
                  <a:gd name="T2" fmla="*/ 1695 w 3392"/>
                  <a:gd name="T3" fmla="*/ 0 h 3393"/>
                  <a:gd name="T4" fmla="*/ 0 w 3392"/>
                  <a:gd name="T5" fmla="*/ 1696 h 3393"/>
                  <a:gd name="T6" fmla="*/ 0 w 3392"/>
                  <a:gd name="T7" fmla="*/ 1696 h 3393"/>
                  <a:gd name="T8" fmla="*/ 1695 w 3392"/>
                  <a:gd name="T9" fmla="*/ 3392 h 3393"/>
                  <a:gd name="T10" fmla="*/ 1695 w 3392"/>
                  <a:gd name="T11" fmla="*/ 3392 h 3393"/>
                  <a:gd name="T12" fmla="*/ 3391 w 3392"/>
                  <a:gd name="T13" fmla="*/ 1696 h 3393"/>
                  <a:gd name="T14" fmla="*/ 3391 w 3392"/>
                  <a:gd name="T15" fmla="*/ 1696 h 3393"/>
                  <a:gd name="T16" fmla="*/ 1695 w 3392"/>
                  <a:gd name="T17" fmla="*/ 0 h 33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92" h="3393">
                    <a:moveTo>
                      <a:pt x="1695" y="0"/>
                    </a:moveTo>
                    <a:lnTo>
                      <a:pt x="1695" y="0"/>
                    </a:lnTo>
                    <a:cubicBezTo>
                      <a:pt x="759" y="0"/>
                      <a:pt x="0" y="759"/>
                      <a:pt x="0" y="1696"/>
                    </a:cubicBezTo>
                    <a:lnTo>
                      <a:pt x="0" y="1696"/>
                    </a:lnTo>
                    <a:cubicBezTo>
                      <a:pt x="0" y="2632"/>
                      <a:pt x="759" y="3392"/>
                      <a:pt x="1695" y="3392"/>
                    </a:cubicBezTo>
                    <a:lnTo>
                      <a:pt x="1695" y="3392"/>
                    </a:lnTo>
                    <a:cubicBezTo>
                      <a:pt x="2632" y="3392"/>
                      <a:pt x="3391" y="2632"/>
                      <a:pt x="3391" y="1696"/>
                    </a:cubicBezTo>
                    <a:lnTo>
                      <a:pt x="3391" y="1696"/>
                    </a:lnTo>
                    <a:cubicBezTo>
                      <a:pt x="3391" y="759"/>
                      <a:pt x="2632" y="0"/>
                      <a:pt x="1695" y="0"/>
                    </a:cubicBezTo>
                  </a:path>
                </a:pathLst>
              </a:custGeom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2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66" b="0" i="0" u="none" strike="noStrike" kern="1200" cap="none" spc="0" normalizeH="0" baseline="0" noProof="0" dirty="0">
                  <a:ln>
                    <a:noFill/>
                  </a:ln>
                  <a:solidFill>
                    <a:srgbClr val="737572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ABA385E9-8ABB-4F4C-B56D-06F8382F25D5}"/>
                </a:ext>
              </a:extLst>
            </p:cNvPr>
            <p:cNvGrpSpPr/>
            <p:nvPr/>
          </p:nvGrpSpPr>
          <p:grpSpPr>
            <a:xfrm>
              <a:off x="7231092" y="3455373"/>
              <a:ext cx="4196831" cy="9498627"/>
              <a:chOff x="7775731" y="3455373"/>
              <a:chExt cx="4196831" cy="9498627"/>
            </a:xfrm>
          </p:grpSpPr>
          <p:sp useBgFill="1">
            <p:nvSpPr>
              <p:cNvPr id="6150" name="Freeform 6">
                <a:extLst>
                  <a:ext uri="{FF2B5EF4-FFF2-40B4-BE49-F238E27FC236}">
                    <a16:creationId xmlns:a16="http://schemas.microsoft.com/office/drawing/2014/main" id="{7ECDCF09-8E49-7046-B075-F74DAF5AA7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44686" y="3539853"/>
                <a:ext cx="3855544" cy="5021329"/>
              </a:xfrm>
              <a:custGeom>
                <a:avLst/>
                <a:gdLst>
                  <a:gd name="T0" fmla="*/ 4993 w 5032"/>
                  <a:gd name="T1" fmla="*/ 6551 h 6552"/>
                  <a:gd name="T2" fmla="*/ 39 w 5032"/>
                  <a:gd name="T3" fmla="*/ 6551 h 6552"/>
                  <a:gd name="T4" fmla="*/ 39 w 5032"/>
                  <a:gd name="T5" fmla="*/ 6551 h 6552"/>
                  <a:gd name="T6" fmla="*/ 0 w 5032"/>
                  <a:gd name="T7" fmla="*/ 6512 h 6552"/>
                  <a:gd name="T8" fmla="*/ 0 w 5032"/>
                  <a:gd name="T9" fmla="*/ 39 h 6552"/>
                  <a:gd name="T10" fmla="*/ 0 w 5032"/>
                  <a:gd name="T11" fmla="*/ 39 h 6552"/>
                  <a:gd name="T12" fmla="*/ 39 w 5032"/>
                  <a:gd name="T13" fmla="*/ 0 h 6552"/>
                  <a:gd name="T14" fmla="*/ 4993 w 5032"/>
                  <a:gd name="T15" fmla="*/ 0 h 6552"/>
                  <a:gd name="T16" fmla="*/ 4993 w 5032"/>
                  <a:gd name="T17" fmla="*/ 0 h 6552"/>
                  <a:gd name="T18" fmla="*/ 5031 w 5032"/>
                  <a:gd name="T19" fmla="*/ 39 h 6552"/>
                  <a:gd name="T20" fmla="*/ 5031 w 5032"/>
                  <a:gd name="T21" fmla="*/ 6512 h 6552"/>
                  <a:gd name="T22" fmla="*/ 5031 w 5032"/>
                  <a:gd name="T23" fmla="*/ 6512 h 6552"/>
                  <a:gd name="T24" fmla="*/ 4993 w 5032"/>
                  <a:gd name="T25" fmla="*/ 6551 h 65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032" h="6552">
                    <a:moveTo>
                      <a:pt x="4993" y="6551"/>
                    </a:moveTo>
                    <a:lnTo>
                      <a:pt x="39" y="6551"/>
                    </a:lnTo>
                    <a:lnTo>
                      <a:pt x="39" y="6551"/>
                    </a:lnTo>
                    <a:cubicBezTo>
                      <a:pt x="17" y="6551"/>
                      <a:pt x="0" y="6533"/>
                      <a:pt x="0" y="6512"/>
                    </a:cubicBezTo>
                    <a:lnTo>
                      <a:pt x="0" y="39"/>
                    </a:lnTo>
                    <a:lnTo>
                      <a:pt x="0" y="39"/>
                    </a:lnTo>
                    <a:cubicBezTo>
                      <a:pt x="0" y="17"/>
                      <a:pt x="17" y="0"/>
                      <a:pt x="39" y="0"/>
                    </a:cubicBezTo>
                    <a:lnTo>
                      <a:pt x="4993" y="0"/>
                    </a:lnTo>
                    <a:lnTo>
                      <a:pt x="4993" y="0"/>
                    </a:lnTo>
                    <a:cubicBezTo>
                      <a:pt x="5014" y="0"/>
                      <a:pt x="5031" y="17"/>
                      <a:pt x="5031" y="39"/>
                    </a:cubicBezTo>
                    <a:lnTo>
                      <a:pt x="5031" y="6512"/>
                    </a:lnTo>
                    <a:lnTo>
                      <a:pt x="5031" y="6512"/>
                    </a:lnTo>
                    <a:cubicBezTo>
                      <a:pt x="5031" y="6533"/>
                      <a:pt x="5014" y="6551"/>
                      <a:pt x="4993" y="6551"/>
                    </a:cubicBezTo>
                  </a:path>
                </a:pathLst>
              </a:custGeom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2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66" b="0" i="0" u="none" strike="noStrike" kern="1200" cap="none" spc="0" normalizeH="0" baseline="0" noProof="0" dirty="0">
                  <a:ln>
                    <a:noFill/>
                  </a:ln>
                  <a:solidFill>
                    <a:srgbClr val="737572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6151" name="Freeform 7">
                <a:extLst>
                  <a:ext uri="{FF2B5EF4-FFF2-40B4-BE49-F238E27FC236}">
                    <a16:creationId xmlns:a16="http://schemas.microsoft.com/office/drawing/2014/main" id="{43BD959A-F4F5-AD47-8C6B-04C135105BB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60209" y="3455373"/>
                <a:ext cx="4024496" cy="5190283"/>
              </a:xfrm>
              <a:custGeom>
                <a:avLst/>
                <a:gdLst>
                  <a:gd name="T0" fmla="*/ 554 w 5254"/>
                  <a:gd name="T1" fmla="*/ 221 h 6774"/>
                  <a:gd name="T2" fmla="*/ 554 w 5254"/>
                  <a:gd name="T3" fmla="*/ 221 h 6774"/>
                  <a:gd name="T4" fmla="*/ 222 w 5254"/>
                  <a:gd name="T5" fmla="*/ 554 h 6774"/>
                  <a:gd name="T6" fmla="*/ 222 w 5254"/>
                  <a:gd name="T7" fmla="*/ 6219 h 6774"/>
                  <a:gd name="T8" fmla="*/ 222 w 5254"/>
                  <a:gd name="T9" fmla="*/ 6219 h 6774"/>
                  <a:gd name="T10" fmla="*/ 554 w 5254"/>
                  <a:gd name="T11" fmla="*/ 6551 h 6774"/>
                  <a:gd name="T12" fmla="*/ 4699 w 5254"/>
                  <a:gd name="T13" fmla="*/ 6551 h 6774"/>
                  <a:gd name="T14" fmla="*/ 4699 w 5254"/>
                  <a:gd name="T15" fmla="*/ 6551 h 6774"/>
                  <a:gd name="T16" fmla="*/ 5032 w 5254"/>
                  <a:gd name="T17" fmla="*/ 6219 h 6774"/>
                  <a:gd name="T18" fmla="*/ 5032 w 5254"/>
                  <a:gd name="T19" fmla="*/ 554 h 6774"/>
                  <a:gd name="T20" fmla="*/ 5032 w 5254"/>
                  <a:gd name="T21" fmla="*/ 554 h 6774"/>
                  <a:gd name="T22" fmla="*/ 4699 w 5254"/>
                  <a:gd name="T23" fmla="*/ 221 h 6774"/>
                  <a:gd name="T24" fmla="*/ 554 w 5254"/>
                  <a:gd name="T25" fmla="*/ 221 h 6774"/>
                  <a:gd name="T26" fmla="*/ 4699 w 5254"/>
                  <a:gd name="T27" fmla="*/ 6773 h 6774"/>
                  <a:gd name="T28" fmla="*/ 554 w 5254"/>
                  <a:gd name="T29" fmla="*/ 6773 h 6774"/>
                  <a:gd name="T30" fmla="*/ 554 w 5254"/>
                  <a:gd name="T31" fmla="*/ 6773 h 6774"/>
                  <a:gd name="T32" fmla="*/ 0 w 5254"/>
                  <a:gd name="T33" fmla="*/ 6219 h 6774"/>
                  <a:gd name="T34" fmla="*/ 0 w 5254"/>
                  <a:gd name="T35" fmla="*/ 554 h 6774"/>
                  <a:gd name="T36" fmla="*/ 0 w 5254"/>
                  <a:gd name="T37" fmla="*/ 554 h 6774"/>
                  <a:gd name="T38" fmla="*/ 554 w 5254"/>
                  <a:gd name="T39" fmla="*/ 0 h 6774"/>
                  <a:gd name="T40" fmla="*/ 4699 w 5254"/>
                  <a:gd name="T41" fmla="*/ 0 h 6774"/>
                  <a:gd name="T42" fmla="*/ 4699 w 5254"/>
                  <a:gd name="T43" fmla="*/ 0 h 6774"/>
                  <a:gd name="T44" fmla="*/ 5253 w 5254"/>
                  <a:gd name="T45" fmla="*/ 554 h 6774"/>
                  <a:gd name="T46" fmla="*/ 5253 w 5254"/>
                  <a:gd name="T47" fmla="*/ 6219 h 6774"/>
                  <a:gd name="T48" fmla="*/ 5253 w 5254"/>
                  <a:gd name="T49" fmla="*/ 6219 h 6774"/>
                  <a:gd name="T50" fmla="*/ 4699 w 5254"/>
                  <a:gd name="T51" fmla="*/ 6773 h 67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254" h="6774">
                    <a:moveTo>
                      <a:pt x="554" y="221"/>
                    </a:moveTo>
                    <a:lnTo>
                      <a:pt x="554" y="221"/>
                    </a:lnTo>
                    <a:cubicBezTo>
                      <a:pt x="371" y="221"/>
                      <a:pt x="222" y="370"/>
                      <a:pt x="222" y="554"/>
                    </a:cubicBezTo>
                    <a:lnTo>
                      <a:pt x="222" y="6219"/>
                    </a:lnTo>
                    <a:lnTo>
                      <a:pt x="222" y="6219"/>
                    </a:lnTo>
                    <a:cubicBezTo>
                      <a:pt x="222" y="6402"/>
                      <a:pt x="371" y="6551"/>
                      <a:pt x="554" y="6551"/>
                    </a:cubicBezTo>
                    <a:lnTo>
                      <a:pt x="4699" y="6551"/>
                    </a:lnTo>
                    <a:lnTo>
                      <a:pt x="4699" y="6551"/>
                    </a:lnTo>
                    <a:cubicBezTo>
                      <a:pt x="4883" y="6551"/>
                      <a:pt x="5032" y="6402"/>
                      <a:pt x="5032" y="6219"/>
                    </a:cubicBezTo>
                    <a:lnTo>
                      <a:pt x="5032" y="554"/>
                    </a:lnTo>
                    <a:lnTo>
                      <a:pt x="5032" y="554"/>
                    </a:lnTo>
                    <a:cubicBezTo>
                      <a:pt x="5032" y="370"/>
                      <a:pt x="4883" y="221"/>
                      <a:pt x="4699" y="221"/>
                    </a:cubicBezTo>
                    <a:lnTo>
                      <a:pt x="554" y="221"/>
                    </a:lnTo>
                    <a:close/>
                    <a:moveTo>
                      <a:pt x="4699" y="6773"/>
                    </a:moveTo>
                    <a:lnTo>
                      <a:pt x="554" y="6773"/>
                    </a:lnTo>
                    <a:lnTo>
                      <a:pt x="554" y="6773"/>
                    </a:lnTo>
                    <a:cubicBezTo>
                      <a:pt x="249" y="6773"/>
                      <a:pt x="0" y="6525"/>
                      <a:pt x="0" y="6219"/>
                    </a:cubicBezTo>
                    <a:lnTo>
                      <a:pt x="0" y="554"/>
                    </a:lnTo>
                    <a:lnTo>
                      <a:pt x="0" y="554"/>
                    </a:lnTo>
                    <a:cubicBezTo>
                      <a:pt x="0" y="249"/>
                      <a:pt x="249" y="0"/>
                      <a:pt x="554" y="0"/>
                    </a:cubicBezTo>
                    <a:lnTo>
                      <a:pt x="4699" y="0"/>
                    </a:lnTo>
                    <a:lnTo>
                      <a:pt x="4699" y="0"/>
                    </a:lnTo>
                    <a:cubicBezTo>
                      <a:pt x="5005" y="0"/>
                      <a:pt x="5253" y="249"/>
                      <a:pt x="5253" y="554"/>
                    </a:cubicBezTo>
                    <a:lnTo>
                      <a:pt x="5253" y="6219"/>
                    </a:lnTo>
                    <a:lnTo>
                      <a:pt x="5253" y="6219"/>
                    </a:lnTo>
                    <a:cubicBezTo>
                      <a:pt x="5253" y="6525"/>
                      <a:pt x="5005" y="6773"/>
                      <a:pt x="4699" y="6773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2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66" b="0" i="0" u="none" strike="noStrike" kern="1200" cap="none" spc="0" normalizeH="0" baseline="0" noProof="0" dirty="0">
                  <a:ln>
                    <a:noFill/>
                  </a:ln>
                  <a:solidFill>
                    <a:srgbClr val="737572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6152" name="Freeform 8">
                <a:extLst>
                  <a:ext uri="{FF2B5EF4-FFF2-40B4-BE49-F238E27FC236}">
                    <a16:creationId xmlns:a16="http://schemas.microsoft.com/office/drawing/2014/main" id="{57B41BCC-82DC-8E47-9189-3F04189472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44686" y="7331192"/>
                <a:ext cx="3855544" cy="5457230"/>
              </a:xfrm>
              <a:custGeom>
                <a:avLst/>
                <a:gdLst>
                  <a:gd name="T0" fmla="*/ 2516 w 5032"/>
                  <a:gd name="T1" fmla="*/ 0 h 7120"/>
                  <a:gd name="T2" fmla="*/ 1263 w 5032"/>
                  <a:gd name="T3" fmla="*/ 1704 h 7120"/>
                  <a:gd name="T4" fmla="*/ 1800 w 5032"/>
                  <a:gd name="T5" fmla="*/ 1704 h 7120"/>
                  <a:gd name="T6" fmla="*/ 1800 w 5032"/>
                  <a:gd name="T7" fmla="*/ 2191 h 7120"/>
                  <a:gd name="T8" fmla="*/ 1800 w 5032"/>
                  <a:gd name="T9" fmla="*/ 2191 h 7120"/>
                  <a:gd name="T10" fmla="*/ 0 w 5032"/>
                  <a:gd name="T11" fmla="*/ 4602 h 7120"/>
                  <a:gd name="T12" fmla="*/ 0 w 5032"/>
                  <a:gd name="T13" fmla="*/ 4602 h 7120"/>
                  <a:gd name="T14" fmla="*/ 2516 w 5032"/>
                  <a:gd name="T15" fmla="*/ 7119 h 7120"/>
                  <a:gd name="T16" fmla="*/ 2516 w 5032"/>
                  <a:gd name="T17" fmla="*/ 7119 h 7120"/>
                  <a:gd name="T18" fmla="*/ 5031 w 5032"/>
                  <a:gd name="T19" fmla="*/ 4602 h 7120"/>
                  <a:gd name="T20" fmla="*/ 5031 w 5032"/>
                  <a:gd name="T21" fmla="*/ 4602 h 7120"/>
                  <a:gd name="T22" fmla="*/ 3231 w 5032"/>
                  <a:gd name="T23" fmla="*/ 2191 h 7120"/>
                  <a:gd name="T24" fmla="*/ 3231 w 5032"/>
                  <a:gd name="T25" fmla="*/ 1704 h 7120"/>
                  <a:gd name="T26" fmla="*/ 3769 w 5032"/>
                  <a:gd name="T27" fmla="*/ 1704 h 7120"/>
                  <a:gd name="T28" fmla="*/ 2516 w 5032"/>
                  <a:gd name="T29" fmla="*/ 0 h 7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032" h="7120">
                    <a:moveTo>
                      <a:pt x="2516" y="0"/>
                    </a:moveTo>
                    <a:lnTo>
                      <a:pt x="1263" y="1704"/>
                    </a:lnTo>
                    <a:lnTo>
                      <a:pt x="1800" y="1704"/>
                    </a:lnTo>
                    <a:lnTo>
                      <a:pt x="1800" y="2191"/>
                    </a:lnTo>
                    <a:lnTo>
                      <a:pt x="1800" y="2191"/>
                    </a:lnTo>
                    <a:cubicBezTo>
                      <a:pt x="760" y="2500"/>
                      <a:pt x="0" y="3462"/>
                      <a:pt x="0" y="4602"/>
                    </a:cubicBezTo>
                    <a:lnTo>
                      <a:pt x="0" y="4602"/>
                    </a:lnTo>
                    <a:cubicBezTo>
                      <a:pt x="0" y="5992"/>
                      <a:pt x="1127" y="7119"/>
                      <a:pt x="2516" y="7119"/>
                    </a:cubicBezTo>
                    <a:lnTo>
                      <a:pt x="2516" y="7119"/>
                    </a:lnTo>
                    <a:cubicBezTo>
                      <a:pt x="3905" y="7119"/>
                      <a:pt x="5031" y="5992"/>
                      <a:pt x="5031" y="4602"/>
                    </a:cubicBezTo>
                    <a:lnTo>
                      <a:pt x="5031" y="4602"/>
                    </a:lnTo>
                    <a:cubicBezTo>
                      <a:pt x="5031" y="3462"/>
                      <a:pt x="4272" y="2500"/>
                      <a:pt x="3231" y="2191"/>
                    </a:cubicBezTo>
                    <a:lnTo>
                      <a:pt x="3231" y="1704"/>
                    </a:lnTo>
                    <a:lnTo>
                      <a:pt x="3769" y="1704"/>
                    </a:lnTo>
                    <a:lnTo>
                      <a:pt x="2516" y="0"/>
                    </a:lnTo>
                  </a:path>
                </a:pathLst>
              </a:custGeom>
              <a:solidFill>
                <a:srgbClr val="00B0F0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2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66" b="0" i="0" u="none" strike="noStrike" kern="1200" cap="none" spc="0" normalizeH="0" baseline="0" noProof="0" dirty="0">
                  <a:ln>
                    <a:noFill/>
                  </a:ln>
                  <a:solidFill>
                    <a:srgbClr val="737572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endParaRPr>
              </a:p>
            </p:txBody>
          </p:sp>
          <p:sp useBgFill="1">
            <p:nvSpPr>
              <p:cNvPr id="6153" name="Freeform 9">
                <a:extLst>
                  <a:ext uri="{FF2B5EF4-FFF2-40B4-BE49-F238E27FC236}">
                    <a16:creationId xmlns:a16="http://schemas.microsoft.com/office/drawing/2014/main" id="{D1A670AA-153D-E048-BA34-2CC4D852A8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5731" y="7158857"/>
                <a:ext cx="4196831" cy="5795143"/>
              </a:xfrm>
              <a:custGeom>
                <a:avLst/>
                <a:gdLst>
                  <a:gd name="T0" fmla="*/ 2738 w 5476"/>
                  <a:gd name="T1" fmla="*/ 0 h 7563"/>
                  <a:gd name="T2" fmla="*/ 2738 w 5476"/>
                  <a:gd name="T3" fmla="*/ 0 h 7563"/>
                  <a:gd name="T4" fmla="*/ 2560 w 5476"/>
                  <a:gd name="T5" fmla="*/ 91 h 7563"/>
                  <a:gd name="T6" fmla="*/ 1306 w 5476"/>
                  <a:gd name="T7" fmla="*/ 1795 h 7563"/>
                  <a:gd name="T8" fmla="*/ 1306 w 5476"/>
                  <a:gd name="T9" fmla="*/ 1795 h 7563"/>
                  <a:gd name="T10" fmla="*/ 1287 w 5476"/>
                  <a:gd name="T11" fmla="*/ 2026 h 7563"/>
                  <a:gd name="T12" fmla="*/ 1287 w 5476"/>
                  <a:gd name="T13" fmla="*/ 2026 h 7563"/>
                  <a:gd name="T14" fmla="*/ 1485 w 5476"/>
                  <a:gd name="T15" fmla="*/ 2148 h 7563"/>
                  <a:gd name="T16" fmla="*/ 1800 w 5476"/>
                  <a:gd name="T17" fmla="*/ 2148 h 7563"/>
                  <a:gd name="T18" fmla="*/ 1800 w 5476"/>
                  <a:gd name="T19" fmla="*/ 2253 h 7563"/>
                  <a:gd name="T20" fmla="*/ 1800 w 5476"/>
                  <a:gd name="T21" fmla="*/ 2253 h 7563"/>
                  <a:gd name="T22" fmla="*/ 0 w 5476"/>
                  <a:gd name="T23" fmla="*/ 4824 h 7563"/>
                  <a:gd name="T24" fmla="*/ 0 w 5476"/>
                  <a:gd name="T25" fmla="*/ 4824 h 7563"/>
                  <a:gd name="T26" fmla="*/ 2738 w 5476"/>
                  <a:gd name="T27" fmla="*/ 7562 h 7563"/>
                  <a:gd name="T28" fmla="*/ 2738 w 5476"/>
                  <a:gd name="T29" fmla="*/ 7562 h 7563"/>
                  <a:gd name="T30" fmla="*/ 5475 w 5476"/>
                  <a:gd name="T31" fmla="*/ 4824 h 7563"/>
                  <a:gd name="T32" fmla="*/ 5475 w 5476"/>
                  <a:gd name="T33" fmla="*/ 4824 h 7563"/>
                  <a:gd name="T34" fmla="*/ 3675 w 5476"/>
                  <a:gd name="T35" fmla="*/ 2253 h 7563"/>
                  <a:gd name="T36" fmla="*/ 3675 w 5476"/>
                  <a:gd name="T37" fmla="*/ 2148 h 7563"/>
                  <a:gd name="T38" fmla="*/ 3991 w 5476"/>
                  <a:gd name="T39" fmla="*/ 2148 h 7563"/>
                  <a:gd name="T40" fmla="*/ 3991 w 5476"/>
                  <a:gd name="T41" fmla="*/ 2148 h 7563"/>
                  <a:gd name="T42" fmla="*/ 4188 w 5476"/>
                  <a:gd name="T43" fmla="*/ 2026 h 7563"/>
                  <a:gd name="T44" fmla="*/ 4188 w 5476"/>
                  <a:gd name="T45" fmla="*/ 2026 h 7563"/>
                  <a:gd name="T46" fmla="*/ 4169 w 5476"/>
                  <a:gd name="T47" fmla="*/ 1795 h 7563"/>
                  <a:gd name="T48" fmla="*/ 2916 w 5476"/>
                  <a:gd name="T49" fmla="*/ 91 h 7563"/>
                  <a:gd name="T50" fmla="*/ 2916 w 5476"/>
                  <a:gd name="T51" fmla="*/ 91 h 7563"/>
                  <a:gd name="T52" fmla="*/ 2738 w 5476"/>
                  <a:gd name="T53" fmla="*/ 0 h 7563"/>
                  <a:gd name="T54" fmla="*/ 2738 w 5476"/>
                  <a:gd name="T55" fmla="*/ 222 h 7563"/>
                  <a:gd name="T56" fmla="*/ 3991 w 5476"/>
                  <a:gd name="T57" fmla="*/ 1926 h 7563"/>
                  <a:gd name="T58" fmla="*/ 3453 w 5476"/>
                  <a:gd name="T59" fmla="*/ 1926 h 7563"/>
                  <a:gd name="T60" fmla="*/ 3453 w 5476"/>
                  <a:gd name="T61" fmla="*/ 2413 h 7563"/>
                  <a:gd name="T62" fmla="*/ 3453 w 5476"/>
                  <a:gd name="T63" fmla="*/ 2413 h 7563"/>
                  <a:gd name="T64" fmla="*/ 5253 w 5476"/>
                  <a:gd name="T65" fmla="*/ 4824 h 7563"/>
                  <a:gd name="T66" fmla="*/ 5253 w 5476"/>
                  <a:gd name="T67" fmla="*/ 4824 h 7563"/>
                  <a:gd name="T68" fmla="*/ 2738 w 5476"/>
                  <a:gd name="T69" fmla="*/ 7341 h 7563"/>
                  <a:gd name="T70" fmla="*/ 2738 w 5476"/>
                  <a:gd name="T71" fmla="*/ 7341 h 7563"/>
                  <a:gd name="T72" fmla="*/ 222 w 5476"/>
                  <a:gd name="T73" fmla="*/ 4824 h 7563"/>
                  <a:gd name="T74" fmla="*/ 222 w 5476"/>
                  <a:gd name="T75" fmla="*/ 4824 h 7563"/>
                  <a:gd name="T76" fmla="*/ 2022 w 5476"/>
                  <a:gd name="T77" fmla="*/ 2413 h 7563"/>
                  <a:gd name="T78" fmla="*/ 2022 w 5476"/>
                  <a:gd name="T79" fmla="*/ 1926 h 7563"/>
                  <a:gd name="T80" fmla="*/ 1485 w 5476"/>
                  <a:gd name="T81" fmla="*/ 1926 h 7563"/>
                  <a:gd name="T82" fmla="*/ 2738 w 5476"/>
                  <a:gd name="T83" fmla="*/ 222 h 75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5476" h="7563">
                    <a:moveTo>
                      <a:pt x="2738" y="0"/>
                    </a:moveTo>
                    <a:lnTo>
                      <a:pt x="2738" y="0"/>
                    </a:lnTo>
                    <a:cubicBezTo>
                      <a:pt x="2668" y="0"/>
                      <a:pt x="2601" y="34"/>
                      <a:pt x="2560" y="91"/>
                    </a:cubicBezTo>
                    <a:lnTo>
                      <a:pt x="1306" y="1795"/>
                    </a:lnTo>
                    <a:lnTo>
                      <a:pt x="1306" y="1795"/>
                    </a:lnTo>
                    <a:cubicBezTo>
                      <a:pt x="1256" y="1862"/>
                      <a:pt x="1250" y="1952"/>
                      <a:pt x="1287" y="2026"/>
                    </a:cubicBezTo>
                    <a:lnTo>
                      <a:pt x="1287" y="2026"/>
                    </a:lnTo>
                    <a:cubicBezTo>
                      <a:pt x="1325" y="2101"/>
                      <a:pt x="1401" y="2148"/>
                      <a:pt x="1485" y="2148"/>
                    </a:cubicBezTo>
                    <a:lnTo>
                      <a:pt x="1800" y="2148"/>
                    </a:lnTo>
                    <a:lnTo>
                      <a:pt x="1800" y="2253"/>
                    </a:lnTo>
                    <a:lnTo>
                      <a:pt x="1800" y="2253"/>
                    </a:lnTo>
                    <a:cubicBezTo>
                      <a:pt x="733" y="2643"/>
                      <a:pt x="0" y="3677"/>
                      <a:pt x="0" y="4824"/>
                    </a:cubicBezTo>
                    <a:lnTo>
                      <a:pt x="0" y="4824"/>
                    </a:lnTo>
                    <a:cubicBezTo>
                      <a:pt x="0" y="6334"/>
                      <a:pt x="1228" y="7562"/>
                      <a:pt x="2738" y="7562"/>
                    </a:cubicBezTo>
                    <a:lnTo>
                      <a:pt x="2738" y="7562"/>
                    </a:lnTo>
                    <a:cubicBezTo>
                      <a:pt x="4247" y="7562"/>
                      <a:pt x="5475" y="6334"/>
                      <a:pt x="5475" y="4824"/>
                    </a:cubicBezTo>
                    <a:lnTo>
                      <a:pt x="5475" y="4824"/>
                    </a:lnTo>
                    <a:cubicBezTo>
                      <a:pt x="5475" y="3677"/>
                      <a:pt x="4743" y="2643"/>
                      <a:pt x="3675" y="2253"/>
                    </a:cubicBezTo>
                    <a:lnTo>
                      <a:pt x="3675" y="2148"/>
                    </a:lnTo>
                    <a:lnTo>
                      <a:pt x="3991" y="2148"/>
                    </a:lnTo>
                    <a:lnTo>
                      <a:pt x="3991" y="2148"/>
                    </a:lnTo>
                    <a:cubicBezTo>
                      <a:pt x="4074" y="2148"/>
                      <a:pt x="4151" y="2101"/>
                      <a:pt x="4188" y="2026"/>
                    </a:cubicBezTo>
                    <a:lnTo>
                      <a:pt x="4188" y="2026"/>
                    </a:lnTo>
                    <a:cubicBezTo>
                      <a:pt x="4226" y="1952"/>
                      <a:pt x="4219" y="1862"/>
                      <a:pt x="4169" y="1795"/>
                    </a:cubicBezTo>
                    <a:lnTo>
                      <a:pt x="2916" y="91"/>
                    </a:lnTo>
                    <a:lnTo>
                      <a:pt x="2916" y="91"/>
                    </a:lnTo>
                    <a:cubicBezTo>
                      <a:pt x="2874" y="34"/>
                      <a:pt x="2808" y="0"/>
                      <a:pt x="2738" y="0"/>
                    </a:cubicBezTo>
                    <a:close/>
                    <a:moveTo>
                      <a:pt x="2738" y="222"/>
                    </a:moveTo>
                    <a:lnTo>
                      <a:pt x="3991" y="1926"/>
                    </a:lnTo>
                    <a:lnTo>
                      <a:pt x="3453" y="1926"/>
                    </a:lnTo>
                    <a:lnTo>
                      <a:pt x="3453" y="2413"/>
                    </a:lnTo>
                    <a:lnTo>
                      <a:pt x="3453" y="2413"/>
                    </a:lnTo>
                    <a:cubicBezTo>
                      <a:pt x="4494" y="2722"/>
                      <a:pt x="5253" y="3684"/>
                      <a:pt x="5253" y="4824"/>
                    </a:cubicBezTo>
                    <a:lnTo>
                      <a:pt x="5253" y="4824"/>
                    </a:lnTo>
                    <a:cubicBezTo>
                      <a:pt x="5253" y="6214"/>
                      <a:pt x="4127" y="7341"/>
                      <a:pt x="2738" y="7341"/>
                    </a:cubicBezTo>
                    <a:lnTo>
                      <a:pt x="2738" y="7341"/>
                    </a:lnTo>
                    <a:cubicBezTo>
                      <a:pt x="1349" y="7341"/>
                      <a:pt x="222" y="6214"/>
                      <a:pt x="222" y="4824"/>
                    </a:cubicBezTo>
                    <a:lnTo>
                      <a:pt x="222" y="4824"/>
                    </a:lnTo>
                    <a:cubicBezTo>
                      <a:pt x="222" y="3684"/>
                      <a:pt x="982" y="2721"/>
                      <a:pt x="2022" y="2413"/>
                    </a:cubicBezTo>
                    <a:lnTo>
                      <a:pt x="2022" y="1926"/>
                    </a:lnTo>
                    <a:lnTo>
                      <a:pt x="1485" y="1926"/>
                    </a:lnTo>
                    <a:lnTo>
                      <a:pt x="2738" y="222"/>
                    </a:lnTo>
                    <a:close/>
                  </a:path>
                </a:pathLst>
              </a:custGeom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2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66" b="0" i="0" u="none" strike="noStrike" kern="1200" cap="none" spc="0" normalizeH="0" baseline="0" noProof="0" dirty="0">
                  <a:ln>
                    <a:noFill/>
                  </a:ln>
                  <a:solidFill>
                    <a:srgbClr val="737572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endParaRPr>
              </a:p>
            </p:txBody>
          </p:sp>
          <p:sp useBgFill="1">
            <p:nvSpPr>
              <p:cNvPr id="6154" name="Freeform 10">
                <a:extLst>
                  <a:ext uri="{FF2B5EF4-FFF2-40B4-BE49-F238E27FC236}">
                    <a16:creationId xmlns:a16="http://schemas.microsoft.com/office/drawing/2014/main" id="{C6FA030B-D75C-1148-9D4F-AD7A692C6A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413158" y="9397973"/>
                <a:ext cx="2938876" cy="2938876"/>
              </a:xfrm>
              <a:custGeom>
                <a:avLst/>
                <a:gdLst>
                  <a:gd name="T0" fmla="*/ 1695 w 3391"/>
                  <a:gd name="T1" fmla="*/ 0 h 3393"/>
                  <a:gd name="T2" fmla="*/ 1695 w 3391"/>
                  <a:gd name="T3" fmla="*/ 0 h 3393"/>
                  <a:gd name="T4" fmla="*/ 0 w 3391"/>
                  <a:gd name="T5" fmla="*/ 1696 h 3393"/>
                  <a:gd name="T6" fmla="*/ 0 w 3391"/>
                  <a:gd name="T7" fmla="*/ 1696 h 3393"/>
                  <a:gd name="T8" fmla="*/ 1695 w 3391"/>
                  <a:gd name="T9" fmla="*/ 3392 h 3393"/>
                  <a:gd name="T10" fmla="*/ 1695 w 3391"/>
                  <a:gd name="T11" fmla="*/ 3392 h 3393"/>
                  <a:gd name="T12" fmla="*/ 3390 w 3391"/>
                  <a:gd name="T13" fmla="*/ 1696 h 3393"/>
                  <a:gd name="T14" fmla="*/ 3390 w 3391"/>
                  <a:gd name="T15" fmla="*/ 1696 h 3393"/>
                  <a:gd name="T16" fmla="*/ 1695 w 3391"/>
                  <a:gd name="T17" fmla="*/ 0 h 33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91" h="3393">
                    <a:moveTo>
                      <a:pt x="1695" y="0"/>
                    </a:moveTo>
                    <a:lnTo>
                      <a:pt x="1695" y="0"/>
                    </a:lnTo>
                    <a:cubicBezTo>
                      <a:pt x="759" y="0"/>
                      <a:pt x="0" y="759"/>
                      <a:pt x="0" y="1696"/>
                    </a:cubicBezTo>
                    <a:lnTo>
                      <a:pt x="0" y="1696"/>
                    </a:lnTo>
                    <a:cubicBezTo>
                      <a:pt x="0" y="2632"/>
                      <a:pt x="759" y="3392"/>
                      <a:pt x="1695" y="3392"/>
                    </a:cubicBezTo>
                    <a:lnTo>
                      <a:pt x="1695" y="3392"/>
                    </a:lnTo>
                    <a:cubicBezTo>
                      <a:pt x="2631" y="3392"/>
                      <a:pt x="3390" y="2632"/>
                      <a:pt x="3390" y="1696"/>
                    </a:cubicBezTo>
                    <a:lnTo>
                      <a:pt x="3390" y="1696"/>
                    </a:lnTo>
                    <a:cubicBezTo>
                      <a:pt x="3390" y="759"/>
                      <a:pt x="2631" y="0"/>
                      <a:pt x="1695" y="0"/>
                    </a:cubicBezTo>
                  </a:path>
                </a:pathLst>
              </a:custGeom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2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66" b="0" i="0" u="none" strike="noStrike" kern="1200" cap="none" spc="0" normalizeH="0" baseline="0" noProof="0" dirty="0">
                  <a:ln>
                    <a:noFill/>
                  </a:ln>
                  <a:solidFill>
                    <a:srgbClr val="737572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83F30300-728C-F342-BA5F-BF86A0851835}"/>
                </a:ext>
              </a:extLst>
            </p:cNvPr>
            <p:cNvGrpSpPr/>
            <p:nvPr/>
          </p:nvGrpSpPr>
          <p:grpSpPr>
            <a:xfrm>
              <a:off x="12401708" y="3455373"/>
              <a:ext cx="4196831" cy="9498627"/>
              <a:chOff x="12382945" y="2765090"/>
              <a:chExt cx="4196831" cy="9498627"/>
            </a:xfrm>
          </p:grpSpPr>
          <p:sp useBgFill="1">
            <p:nvSpPr>
              <p:cNvPr id="6155" name="Freeform 11">
                <a:extLst>
                  <a:ext uri="{FF2B5EF4-FFF2-40B4-BE49-F238E27FC236}">
                    <a16:creationId xmlns:a16="http://schemas.microsoft.com/office/drawing/2014/main" id="{7742AC50-6536-2443-82FB-08E99BE9D2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555277" y="2849570"/>
                <a:ext cx="3855544" cy="5021329"/>
              </a:xfrm>
              <a:custGeom>
                <a:avLst/>
                <a:gdLst>
                  <a:gd name="T0" fmla="*/ 4994 w 5033"/>
                  <a:gd name="T1" fmla="*/ 6551 h 6552"/>
                  <a:gd name="T2" fmla="*/ 39 w 5033"/>
                  <a:gd name="T3" fmla="*/ 6551 h 6552"/>
                  <a:gd name="T4" fmla="*/ 39 w 5033"/>
                  <a:gd name="T5" fmla="*/ 6551 h 6552"/>
                  <a:gd name="T6" fmla="*/ 0 w 5033"/>
                  <a:gd name="T7" fmla="*/ 6512 h 6552"/>
                  <a:gd name="T8" fmla="*/ 0 w 5033"/>
                  <a:gd name="T9" fmla="*/ 39 h 6552"/>
                  <a:gd name="T10" fmla="*/ 0 w 5033"/>
                  <a:gd name="T11" fmla="*/ 39 h 6552"/>
                  <a:gd name="T12" fmla="*/ 39 w 5033"/>
                  <a:gd name="T13" fmla="*/ 0 h 6552"/>
                  <a:gd name="T14" fmla="*/ 4994 w 5033"/>
                  <a:gd name="T15" fmla="*/ 0 h 6552"/>
                  <a:gd name="T16" fmla="*/ 4994 w 5033"/>
                  <a:gd name="T17" fmla="*/ 0 h 6552"/>
                  <a:gd name="T18" fmla="*/ 5032 w 5033"/>
                  <a:gd name="T19" fmla="*/ 39 h 6552"/>
                  <a:gd name="T20" fmla="*/ 5032 w 5033"/>
                  <a:gd name="T21" fmla="*/ 6512 h 6552"/>
                  <a:gd name="T22" fmla="*/ 5032 w 5033"/>
                  <a:gd name="T23" fmla="*/ 6512 h 6552"/>
                  <a:gd name="T24" fmla="*/ 4994 w 5033"/>
                  <a:gd name="T25" fmla="*/ 6551 h 65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033" h="6552">
                    <a:moveTo>
                      <a:pt x="4994" y="6551"/>
                    </a:moveTo>
                    <a:lnTo>
                      <a:pt x="39" y="6551"/>
                    </a:lnTo>
                    <a:lnTo>
                      <a:pt x="39" y="6551"/>
                    </a:lnTo>
                    <a:cubicBezTo>
                      <a:pt x="18" y="6551"/>
                      <a:pt x="0" y="6533"/>
                      <a:pt x="0" y="6512"/>
                    </a:cubicBezTo>
                    <a:lnTo>
                      <a:pt x="0" y="39"/>
                    </a:lnTo>
                    <a:lnTo>
                      <a:pt x="0" y="39"/>
                    </a:lnTo>
                    <a:cubicBezTo>
                      <a:pt x="0" y="17"/>
                      <a:pt x="18" y="0"/>
                      <a:pt x="39" y="0"/>
                    </a:cubicBezTo>
                    <a:lnTo>
                      <a:pt x="4994" y="0"/>
                    </a:lnTo>
                    <a:lnTo>
                      <a:pt x="4994" y="0"/>
                    </a:lnTo>
                    <a:cubicBezTo>
                      <a:pt x="5015" y="0"/>
                      <a:pt x="5032" y="17"/>
                      <a:pt x="5032" y="39"/>
                    </a:cubicBezTo>
                    <a:lnTo>
                      <a:pt x="5032" y="6512"/>
                    </a:lnTo>
                    <a:lnTo>
                      <a:pt x="5032" y="6512"/>
                    </a:lnTo>
                    <a:cubicBezTo>
                      <a:pt x="5032" y="6533"/>
                      <a:pt x="5015" y="6551"/>
                      <a:pt x="4994" y="6551"/>
                    </a:cubicBezTo>
                  </a:path>
                </a:pathLst>
              </a:custGeom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2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66" b="0" i="0" u="none" strike="noStrike" kern="1200" cap="none" spc="0" normalizeH="0" baseline="0" noProof="0" dirty="0">
                  <a:ln>
                    <a:noFill/>
                  </a:ln>
                  <a:solidFill>
                    <a:srgbClr val="737572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6156" name="Freeform 12">
                <a:extLst>
                  <a:ext uri="{FF2B5EF4-FFF2-40B4-BE49-F238E27FC236}">
                    <a16:creationId xmlns:a16="http://schemas.microsoft.com/office/drawing/2014/main" id="{76C32411-7985-6843-AEF3-671CF693FD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70801" y="2765090"/>
                <a:ext cx="4027876" cy="5190283"/>
              </a:xfrm>
              <a:custGeom>
                <a:avLst/>
                <a:gdLst>
                  <a:gd name="T0" fmla="*/ 554 w 5255"/>
                  <a:gd name="T1" fmla="*/ 221 h 6774"/>
                  <a:gd name="T2" fmla="*/ 554 w 5255"/>
                  <a:gd name="T3" fmla="*/ 221 h 6774"/>
                  <a:gd name="T4" fmla="*/ 222 w 5255"/>
                  <a:gd name="T5" fmla="*/ 554 h 6774"/>
                  <a:gd name="T6" fmla="*/ 222 w 5255"/>
                  <a:gd name="T7" fmla="*/ 6219 h 6774"/>
                  <a:gd name="T8" fmla="*/ 222 w 5255"/>
                  <a:gd name="T9" fmla="*/ 6219 h 6774"/>
                  <a:gd name="T10" fmla="*/ 554 w 5255"/>
                  <a:gd name="T11" fmla="*/ 6551 h 6774"/>
                  <a:gd name="T12" fmla="*/ 4700 w 5255"/>
                  <a:gd name="T13" fmla="*/ 6551 h 6774"/>
                  <a:gd name="T14" fmla="*/ 4700 w 5255"/>
                  <a:gd name="T15" fmla="*/ 6551 h 6774"/>
                  <a:gd name="T16" fmla="*/ 5033 w 5255"/>
                  <a:gd name="T17" fmla="*/ 6219 h 6774"/>
                  <a:gd name="T18" fmla="*/ 5033 w 5255"/>
                  <a:gd name="T19" fmla="*/ 554 h 6774"/>
                  <a:gd name="T20" fmla="*/ 5033 w 5255"/>
                  <a:gd name="T21" fmla="*/ 554 h 6774"/>
                  <a:gd name="T22" fmla="*/ 4700 w 5255"/>
                  <a:gd name="T23" fmla="*/ 221 h 6774"/>
                  <a:gd name="T24" fmla="*/ 554 w 5255"/>
                  <a:gd name="T25" fmla="*/ 221 h 6774"/>
                  <a:gd name="T26" fmla="*/ 4700 w 5255"/>
                  <a:gd name="T27" fmla="*/ 6773 h 6774"/>
                  <a:gd name="T28" fmla="*/ 554 w 5255"/>
                  <a:gd name="T29" fmla="*/ 6773 h 6774"/>
                  <a:gd name="T30" fmla="*/ 554 w 5255"/>
                  <a:gd name="T31" fmla="*/ 6773 h 6774"/>
                  <a:gd name="T32" fmla="*/ 0 w 5255"/>
                  <a:gd name="T33" fmla="*/ 6219 h 6774"/>
                  <a:gd name="T34" fmla="*/ 0 w 5255"/>
                  <a:gd name="T35" fmla="*/ 554 h 6774"/>
                  <a:gd name="T36" fmla="*/ 0 w 5255"/>
                  <a:gd name="T37" fmla="*/ 554 h 6774"/>
                  <a:gd name="T38" fmla="*/ 554 w 5255"/>
                  <a:gd name="T39" fmla="*/ 0 h 6774"/>
                  <a:gd name="T40" fmla="*/ 4700 w 5255"/>
                  <a:gd name="T41" fmla="*/ 0 h 6774"/>
                  <a:gd name="T42" fmla="*/ 4700 w 5255"/>
                  <a:gd name="T43" fmla="*/ 0 h 6774"/>
                  <a:gd name="T44" fmla="*/ 5254 w 5255"/>
                  <a:gd name="T45" fmla="*/ 554 h 6774"/>
                  <a:gd name="T46" fmla="*/ 5254 w 5255"/>
                  <a:gd name="T47" fmla="*/ 6219 h 6774"/>
                  <a:gd name="T48" fmla="*/ 5254 w 5255"/>
                  <a:gd name="T49" fmla="*/ 6219 h 6774"/>
                  <a:gd name="T50" fmla="*/ 4700 w 5255"/>
                  <a:gd name="T51" fmla="*/ 6773 h 67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255" h="6774">
                    <a:moveTo>
                      <a:pt x="554" y="221"/>
                    </a:moveTo>
                    <a:lnTo>
                      <a:pt x="554" y="221"/>
                    </a:lnTo>
                    <a:cubicBezTo>
                      <a:pt x="371" y="221"/>
                      <a:pt x="222" y="370"/>
                      <a:pt x="222" y="554"/>
                    </a:cubicBezTo>
                    <a:lnTo>
                      <a:pt x="222" y="6219"/>
                    </a:lnTo>
                    <a:lnTo>
                      <a:pt x="222" y="6219"/>
                    </a:lnTo>
                    <a:cubicBezTo>
                      <a:pt x="222" y="6402"/>
                      <a:pt x="371" y="6551"/>
                      <a:pt x="554" y="6551"/>
                    </a:cubicBezTo>
                    <a:lnTo>
                      <a:pt x="4700" y="6551"/>
                    </a:lnTo>
                    <a:lnTo>
                      <a:pt x="4700" y="6551"/>
                    </a:lnTo>
                    <a:cubicBezTo>
                      <a:pt x="4884" y="6551"/>
                      <a:pt x="5033" y="6402"/>
                      <a:pt x="5033" y="6219"/>
                    </a:cubicBezTo>
                    <a:lnTo>
                      <a:pt x="5033" y="554"/>
                    </a:lnTo>
                    <a:lnTo>
                      <a:pt x="5033" y="554"/>
                    </a:lnTo>
                    <a:cubicBezTo>
                      <a:pt x="5033" y="370"/>
                      <a:pt x="4884" y="221"/>
                      <a:pt x="4700" y="221"/>
                    </a:cubicBezTo>
                    <a:lnTo>
                      <a:pt x="554" y="221"/>
                    </a:lnTo>
                    <a:close/>
                    <a:moveTo>
                      <a:pt x="4700" y="6773"/>
                    </a:moveTo>
                    <a:lnTo>
                      <a:pt x="554" y="6773"/>
                    </a:lnTo>
                    <a:lnTo>
                      <a:pt x="554" y="6773"/>
                    </a:lnTo>
                    <a:cubicBezTo>
                      <a:pt x="249" y="6773"/>
                      <a:pt x="0" y="6525"/>
                      <a:pt x="0" y="6219"/>
                    </a:cubicBezTo>
                    <a:lnTo>
                      <a:pt x="0" y="554"/>
                    </a:lnTo>
                    <a:lnTo>
                      <a:pt x="0" y="554"/>
                    </a:lnTo>
                    <a:cubicBezTo>
                      <a:pt x="0" y="249"/>
                      <a:pt x="249" y="0"/>
                      <a:pt x="554" y="0"/>
                    </a:cubicBezTo>
                    <a:lnTo>
                      <a:pt x="4700" y="0"/>
                    </a:lnTo>
                    <a:lnTo>
                      <a:pt x="4700" y="0"/>
                    </a:lnTo>
                    <a:cubicBezTo>
                      <a:pt x="5006" y="0"/>
                      <a:pt x="5254" y="249"/>
                      <a:pt x="5254" y="554"/>
                    </a:cubicBezTo>
                    <a:lnTo>
                      <a:pt x="5254" y="6219"/>
                    </a:lnTo>
                    <a:lnTo>
                      <a:pt x="5254" y="6219"/>
                    </a:lnTo>
                    <a:cubicBezTo>
                      <a:pt x="5254" y="6525"/>
                      <a:pt x="5006" y="6773"/>
                      <a:pt x="4700" y="6773"/>
                    </a:cubicBezTo>
                    <a:close/>
                  </a:path>
                </a:pathLst>
              </a:custGeom>
              <a:solidFill>
                <a:srgbClr val="7030A0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2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66" b="0" i="0" u="none" strike="noStrike" kern="1200" cap="none" spc="0" normalizeH="0" baseline="0" noProof="0" dirty="0">
                  <a:ln>
                    <a:noFill/>
                  </a:ln>
                  <a:solidFill>
                    <a:srgbClr val="737572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6157" name="Freeform 13">
                <a:extLst>
                  <a:ext uri="{FF2B5EF4-FFF2-40B4-BE49-F238E27FC236}">
                    <a16:creationId xmlns:a16="http://schemas.microsoft.com/office/drawing/2014/main" id="{BA8082B6-B006-C24C-B881-8AE8E1F6BF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555277" y="6640909"/>
                <a:ext cx="3855544" cy="5457230"/>
              </a:xfrm>
              <a:custGeom>
                <a:avLst/>
                <a:gdLst>
                  <a:gd name="T0" fmla="*/ 2516 w 5033"/>
                  <a:gd name="T1" fmla="*/ 0 h 7120"/>
                  <a:gd name="T2" fmla="*/ 1263 w 5033"/>
                  <a:gd name="T3" fmla="*/ 1704 h 7120"/>
                  <a:gd name="T4" fmla="*/ 1801 w 5033"/>
                  <a:gd name="T5" fmla="*/ 1704 h 7120"/>
                  <a:gd name="T6" fmla="*/ 1801 w 5033"/>
                  <a:gd name="T7" fmla="*/ 2191 h 7120"/>
                  <a:gd name="T8" fmla="*/ 1801 w 5033"/>
                  <a:gd name="T9" fmla="*/ 2191 h 7120"/>
                  <a:gd name="T10" fmla="*/ 0 w 5033"/>
                  <a:gd name="T11" fmla="*/ 4602 h 7120"/>
                  <a:gd name="T12" fmla="*/ 0 w 5033"/>
                  <a:gd name="T13" fmla="*/ 4602 h 7120"/>
                  <a:gd name="T14" fmla="*/ 2516 w 5033"/>
                  <a:gd name="T15" fmla="*/ 7119 h 7120"/>
                  <a:gd name="T16" fmla="*/ 2516 w 5033"/>
                  <a:gd name="T17" fmla="*/ 7119 h 7120"/>
                  <a:gd name="T18" fmla="*/ 5032 w 5033"/>
                  <a:gd name="T19" fmla="*/ 4602 h 7120"/>
                  <a:gd name="T20" fmla="*/ 5032 w 5033"/>
                  <a:gd name="T21" fmla="*/ 4602 h 7120"/>
                  <a:gd name="T22" fmla="*/ 3232 w 5033"/>
                  <a:gd name="T23" fmla="*/ 2191 h 7120"/>
                  <a:gd name="T24" fmla="*/ 3232 w 5033"/>
                  <a:gd name="T25" fmla="*/ 1704 h 7120"/>
                  <a:gd name="T26" fmla="*/ 3770 w 5033"/>
                  <a:gd name="T27" fmla="*/ 1704 h 7120"/>
                  <a:gd name="T28" fmla="*/ 2516 w 5033"/>
                  <a:gd name="T29" fmla="*/ 0 h 7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033" h="7120">
                    <a:moveTo>
                      <a:pt x="2516" y="0"/>
                    </a:moveTo>
                    <a:lnTo>
                      <a:pt x="1263" y="1704"/>
                    </a:lnTo>
                    <a:lnTo>
                      <a:pt x="1801" y="1704"/>
                    </a:lnTo>
                    <a:lnTo>
                      <a:pt x="1801" y="2191"/>
                    </a:lnTo>
                    <a:lnTo>
                      <a:pt x="1801" y="2191"/>
                    </a:lnTo>
                    <a:cubicBezTo>
                      <a:pt x="760" y="2500"/>
                      <a:pt x="0" y="3462"/>
                      <a:pt x="0" y="4602"/>
                    </a:cubicBezTo>
                    <a:lnTo>
                      <a:pt x="0" y="4602"/>
                    </a:lnTo>
                    <a:cubicBezTo>
                      <a:pt x="0" y="5992"/>
                      <a:pt x="1127" y="7119"/>
                      <a:pt x="2516" y="7119"/>
                    </a:cubicBezTo>
                    <a:lnTo>
                      <a:pt x="2516" y="7119"/>
                    </a:lnTo>
                    <a:cubicBezTo>
                      <a:pt x="3906" y="7119"/>
                      <a:pt x="5032" y="5992"/>
                      <a:pt x="5032" y="4602"/>
                    </a:cubicBezTo>
                    <a:lnTo>
                      <a:pt x="5032" y="4602"/>
                    </a:lnTo>
                    <a:cubicBezTo>
                      <a:pt x="5032" y="3462"/>
                      <a:pt x="4273" y="2500"/>
                      <a:pt x="3232" y="2191"/>
                    </a:cubicBezTo>
                    <a:lnTo>
                      <a:pt x="3232" y="1704"/>
                    </a:lnTo>
                    <a:lnTo>
                      <a:pt x="3770" y="1704"/>
                    </a:lnTo>
                    <a:lnTo>
                      <a:pt x="2516" y="0"/>
                    </a:lnTo>
                  </a:path>
                </a:pathLst>
              </a:custGeom>
              <a:solidFill>
                <a:srgbClr val="7030A0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2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66" b="0" i="0" u="none" strike="noStrike" kern="1200" cap="none" spc="0" normalizeH="0" baseline="0" noProof="0" dirty="0">
                  <a:ln>
                    <a:noFill/>
                  </a:ln>
                  <a:solidFill>
                    <a:srgbClr val="737572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endParaRPr>
              </a:p>
            </p:txBody>
          </p:sp>
          <p:sp useBgFill="1">
            <p:nvSpPr>
              <p:cNvPr id="6158" name="Freeform 14">
                <a:extLst>
                  <a:ext uri="{FF2B5EF4-FFF2-40B4-BE49-F238E27FC236}">
                    <a16:creationId xmlns:a16="http://schemas.microsoft.com/office/drawing/2014/main" id="{68B928A7-6021-6945-9621-FF03E43539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382945" y="6468574"/>
                <a:ext cx="4196831" cy="5795143"/>
              </a:xfrm>
              <a:custGeom>
                <a:avLst/>
                <a:gdLst>
                  <a:gd name="T0" fmla="*/ 2738 w 5477"/>
                  <a:gd name="T1" fmla="*/ 0 h 7563"/>
                  <a:gd name="T2" fmla="*/ 2738 w 5477"/>
                  <a:gd name="T3" fmla="*/ 0 h 7563"/>
                  <a:gd name="T4" fmla="*/ 2560 w 5477"/>
                  <a:gd name="T5" fmla="*/ 91 h 7563"/>
                  <a:gd name="T6" fmla="*/ 1306 w 5477"/>
                  <a:gd name="T7" fmla="*/ 1795 h 7563"/>
                  <a:gd name="T8" fmla="*/ 1306 w 5477"/>
                  <a:gd name="T9" fmla="*/ 1795 h 7563"/>
                  <a:gd name="T10" fmla="*/ 1287 w 5477"/>
                  <a:gd name="T11" fmla="*/ 2026 h 7563"/>
                  <a:gd name="T12" fmla="*/ 1287 w 5477"/>
                  <a:gd name="T13" fmla="*/ 2026 h 7563"/>
                  <a:gd name="T14" fmla="*/ 1485 w 5477"/>
                  <a:gd name="T15" fmla="*/ 2148 h 7563"/>
                  <a:gd name="T16" fmla="*/ 1800 w 5477"/>
                  <a:gd name="T17" fmla="*/ 2148 h 7563"/>
                  <a:gd name="T18" fmla="*/ 1800 w 5477"/>
                  <a:gd name="T19" fmla="*/ 2253 h 7563"/>
                  <a:gd name="T20" fmla="*/ 1800 w 5477"/>
                  <a:gd name="T21" fmla="*/ 2253 h 7563"/>
                  <a:gd name="T22" fmla="*/ 0 w 5477"/>
                  <a:gd name="T23" fmla="*/ 4824 h 7563"/>
                  <a:gd name="T24" fmla="*/ 0 w 5477"/>
                  <a:gd name="T25" fmla="*/ 4824 h 7563"/>
                  <a:gd name="T26" fmla="*/ 2738 w 5477"/>
                  <a:gd name="T27" fmla="*/ 7562 h 7563"/>
                  <a:gd name="T28" fmla="*/ 2738 w 5477"/>
                  <a:gd name="T29" fmla="*/ 7562 h 7563"/>
                  <a:gd name="T30" fmla="*/ 5476 w 5477"/>
                  <a:gd name="T31" fmla="*/ 4824 h 7563"/>
                  <a:gd name="T32" fmla="*/ 5476 w 5477"/>
                  <a:gd name="T33" fmla="*/ 4824 h 7563"/>
                  <a:gd name="T34" fmla="*/ 3676 w 5477"/>
                  <a:gd name="T35" fmla="*/ 2253 h 7563"/>
                  <a:gd name="T36" fmla="*/ 3676 w 5477"/>
                  <a:gd name="T37" fmla="*/ 2148 h 7563"/>
                  <a:gd name="T38" fmla="*/ 3992 w 5477"/>
                  <a:gd name="T39" fmla="*/ 2148 h 7563"/>
                  <a:gd name="T40" fmla="*/ 3992 w 5477"/>
                  <a:gd name="T41" fmla="*/ 2148 h 7563"/>
                  <a:gd name="T42" fmla="*/ 4190 w 5477"/>
                  <a:gd name="T43" fmla="*/ 2026 h 7563"/>
                  <a:gd name="T44" fmla="*/ 4190 w 5477"/>
                  <a:gd name="T45" fmla="*/ 2026 h 7563"/>
                  <a:gd name="T46" fmla="*/ 4170 w 5477"/>
                  <a:gd name="T47" fmla="*/ 1795 h 7563"/>
                  <a:gd name="T48" fmla="*/ 2917 w 5477"/>
                  <a:gd name="T49" fmla="*/ 91 h 7563"/>
                  <a:gd name="T50" fmla="*/ 2917 w 5477"/>
                  <a:gd name="T51" fmla="*/ 91 h 7563"/>
                  <a:gd name="T52" fmla="*/ 2738 w 5477"/>
                  <a:gd name="T53" fmla="*/ 0 h 7563"/>
                  <a:gd name="T54" fmla="*/ 2738 w 5477"/>
                  <a:gd name="T55" fmla="*/ 222 h 7563"/>
                  <a:gd name="T56" fmla="*/ 3992 w 5477"/>
                  <a:gd name="T57" fmla="*/ 1926 h 7563"/>
                  <a:gd name="T58" fmla="*/ 3454 w 5477"/>
                  <a:gd name="T59" fmla="*/ 1926 h 7563"/>
                  <a:gd name="T60" fmla="*/ 3454 w 5477"/>
                  <a:gd name="T61" fmla="*/ 2413 h 7563"/>
                  <a:gd name="T62" fmla="*/ 3454 w 5477"/>
                  <a:gd name="T63" fmla="*/ 2413 h 7563"/>
                  <a:gd name="T64" fmla="*/ 5254 w 5477"/>
                  <a:gd name="T65" fmla="*/ 4824 h 7563"/>
                  <a:gd name="T66" fmla="*/ 5254 w 5477"/>
                  <a:gd name="T67" fmla="*/ 4824 h 7563"/>
                  <a:gd name="T68" fmla="*/ 2738 w 5477"/>
                  <a:gd name="T69" fmla="*/ 7341 h 7563"/>
                  <a:gd name="T70" fmla="*/ 2738 w 5477"/>
                  <a:gd name="T71" fmla="*/ 7341 h 7563"/>
                  <a:gd name="T72" fmla="*/ 222 w 5477"/>
                  <a:gd name="T73" fmla="*/ 4824 h 7563"/>
                  <a:gd name="T74" fmla="*/ 222 w 5477"/>
                  <a:gd name="T75" fmla="*/ 4824 h 7563"/>
                  <a:gd name="T76" fmla="*/ 2023 w 5477"/>
                  <a:gd name="T77" fmla="*/ 2413 h 7563"/>
                  <a:gd name="T78" fmla="*/ 2023 w 5477"/>
                  <a:gd name="T79" fmla="*/ 1926 h 7563"/>
                  <a:gd name="T80" fmla="*/ 1485 w 5477"/>
                  <a:gd name="T81" fmla="*/ 1926 h 7563"/>
                  <a:gd name="T82" fmla="*/ 2738 w 5477"/>
                  <a:gd name="T83" fmla="*/ 222 h 75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5477" h="7563">
                    <a:moveTo>
                      <a:pt x="2738" y="0"/>
                    </a:moveTo>
                    <a:lnTo>
                      <a:pt x="2738" y="0"/>
                    </a:lnTo>
                    <a:cubicBezTo>
                      <a:pt x="2668" y="0"/>
                      <a:pt x="2602" y="34"/>
                      <a:pt x="2560" y="91"/>
                    </a:cubicBezTo>
                    <a:lnTo>
                      <a:pt x="1306" y="1795"/>
                    </a:lnTo>
                    <a:lnTo>
                      <a:pt x="1306" y="1795"/>
                    </a:lnTo>
                    <a:cubicBezTo>
                      <a:pt x="1256" y="1862"/>
                      <a:pt x="1250" y="1952"/>
                      <a:pt x="1287" y="2026"/>
                    </a:cubicBezTo>
                    <a:lnTo>
                      <a:pt x="1287" y="2026"/>
                    </a:lnTo>
                    <a:cubicBezTo>
                      <a:pt x="1325" y="2101"/>
                      <a:pt x="1401" y="2148"/>
                      <a:pt x="1485" y="2148"/>
                    </a:cubicBezTo>
                    <a:lnTo>
                      <a:pt x="1800" y="2148"/>
                    </a:lnTo>
                    <a:lnTo>
                      <a:pt x="1800" y="2253"/>
                    </a:lnTo>
                    <a:lnTo>
                      <a:pt x="1800" y="2253"/>
                    </a:lnTo>
                    <a:cubicBezTo>
                      <a:pt x="733" y="2643"/>
                      <a:pt x="0" y="3677"/>
                      <a:pt x="0" y="4824"/>
                    </a:cubicBezTo>
                    <a:lnTo>
                      <a:pt x="0" y="4824"/>
                    </a:lnTo>
                    <a:cubicBezTo>
                      <a:pt x="0" y="6334"/>
                      <a:pt x="1228" y="7562"/>
                      <a:pt x="2738" y="7562"/>
                    </a:cubicBezTo>
                    <a:lnTo>
                      <a:pt x="2738" y="7562"/>
                    </a:lnTo>
                    <a:cubicBezTo>
                      <a:pt x="4248" y="7562"/>
                      <a:pt x="5476" y="6334"/>
                      <a:pt x="5476" y="4824"/>
                    </a:cubicBezTo>
                    <a:lnTo>
                      <a:pt x="5476" y="4824"/>
                    </a:lnTo>
                    <a:cubicBezTo>
                      <a:pt x="5476" y="3677"/>
                      <a:pt x="4744" y="2643"/>
                      <a:pt x="3676" y="2253"/>
                    </a:cubicBezTo>
                    <a:lnTo>
                      <a:pt x="3676" y="2148"/>
                    </a:lnTo>
                    <a:lnTo>
                      <a:pt x="3992" y="2148"/>
                    </a:lnTo>
                    <a:lnTo>
                      <a:pt x="3992" y="2148"/>
                    </a:lnTo>
                    <a:cubicBezTo>
                      <a:pt x="4075" y="2148"/>
                      <a:pt x="4152" y="2101"/>
                      <a:pt x="4190" y="2026"/>
                    </a:cubicBezTo>
                    <a:lnTo>
                      <a:pt x="4190" y="2026"/>
                    </a:lnTo>
                    <a:cubicBezTo>
                      <a:pt x="4227" y="1952"/>
                      <a:pt x="4220" y="1862"/>
                      <a:pt x="4170" y="1795"/>
                    </a:cubicBezTo>
                    <a:lnTo>
                      <a:pt x="2917" y="91"/>
                    </a:lnTo>
                    <a:lnTo>
                      <a:pt x="2917" y="91"/>
                    </a:lnTo>
                    <a:cubicBezTo>
                      <a:pt x="2875" y="34"/>
                      <a:pt x="2809" y="0"/>
                      <a:pt x="2738" y="0"/>
                    </a:cubicBezTo>
                    <a:close/>
                    <a:moveTo>
                      <a:pt x="2738" y="222"/>
                    </a:moveTo>
                    <a:lnTo>
                      <a:pt x="3992" y="1926"/>
                    </a:lnTo>
                    <a:lnTo>
                      <a:pt x="3454" y="1926"/>
                    </a:lnTo>
                    <a:lnTo>
                      <a:pt x="3454" y="2413"/>
                    </a:lnTo>
                    <a:lnTo>
                      <a:pt x="3454" y="2413"/>
                    </a:lnTo>
                    <a:cubicBezTo>
                      <a:pt x="4495" y="2722"/>
                      <a:pt x="5254" y="3684"/>
                      <a:pt x="5254" y="4824"/>
                    </a:cubicBezTo>
                    <a:lnTo>
                      <a:pt x="5254" y="4824"/>
                    </a:lnTo>
                    <a:cubicBezTo>
                      <a:pt x="5254" y="6214"/>
                      <a:pt x="4128" y="7341"/>
                      <a:pt x="2738" y="7341"/>
                    </a:cubicBezTo>
                    <a:lnTo>
                      <a:pt x="2738" y="7341"/>
                    </a:lnTo>
                    <a:cubicBezTo>
                      <a:pt x="1349" y="7341"/>
                      <a:pt x="222" y="6214"/>
                      <a:pt x="222" y="4824"/>
                    </a:cubicBezTo>
                    <a:lnTo>
                      <a:pt x="222" y="4824"/>
                    </a:lnTo>
                    <a:cubicBezTo>
                      <a:pt x="222" y="3684"/>
                      <a:pt x="982" y="2721"/>
                      <a:pt x="2023" y="2413"/>
                    </a:cubicBezTo>
                    <a:lnTo>
                      <a:pt x="2023" y="1926"/>
                    </a:lnTo>
                    <a:lnTo>
                      <a:pt x="1485" y="1926"/>
                    </a:lnTo>
                    <a:lnTo>
                      <a:pt x="2738" y="222"/>
                    </a:lnTo>
                    <a:close/>
                  </a:path>
                </a:pathLst>
              </a:custGeom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2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66" b="0" i="0" u="none" strike="noStrike" kern="1200" cap="none" spc="0" normalizeH="0" baseline="0" noProof="0" dirty="0">
                  <a:ln>
                    <a:noFill/>
                  </a:ln>
                  <a:solidFill>
                    <a:srgbClr val="737572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endParaRPr>
              </a:p>
            </p:txBody>
          </p:sp>
          <p:sp useBgFill="1">
            <p:nvSpPr>
              <p:cNvPr id="6159" name="Freeform 15">
                <a:extLst>
                  <a:ext uri="{FF2B5EF4-FFF2-40B4-BE49-F238E27FC236}">
                    <a16:creationId xmlns:a16="http://schemas.microsoft.com/office/drawing/2014/main" id="{E278A1A5-FFC5-1644-8B2B-AD0DA05B72B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20368" y="8707690"/>
                <a:ext cx="2938878" cy="2938876"/>
              </a:xfrm>
              <a:custGeom>
                <a:avLst/>
                <a:gdLst>
                  <a:gd name="T0" fmla="*/ 1697 w 3393"/>
                  <a:gd name="T1" fmla="*/ 0 h 3393"/>
                  <a:gd name="T2" fmla="*/ 1697 w 3393"/>
                  <a:gd name="T3" fmla="*/ 0 h 3393"/>
                  <a:gd name="T4" fmla="*/ 0 w 3393"/>
                  <a:gd name="T5" fmla="*/ 1696 h 3393"/>
                  <a:gd name="T6" fmla="*/ 0 w 3393"/>
                  <a:gd name="T7" fmla="*/ 1696 h 3393"/>
                  <a:gd name="T8" fmla="*/ 1697 w 3393"/>
                  <a:gd name="T9" fmla="*/ 3392 h 3393"/>
                  <a:gd name="T10" fmla="*/ 1697 w 3393"/>
                  <a:gd name="T11" fmla="*/ 3392 h 3393"/>
                  <a:gd name="T12" fmla="*/ 3392 w 3393"/>
                  <a:gd name="T13" fmla="*/ 1696 h 3393"/>
                  <a:gd name="T14" fmla="*/ 3392 w 3393"/>
                  <a:gd name="T15" fmla="*/ 1696 h 3393"/>
                  <a:gd name="T16" fmla="*/ 1697 w 3393"/>
                  <a:gd name="T17" fmla="*/ 0 h 33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93" h="3393">
                    <a:moveTo>
                      <a:pt x="1697" y="0"/>
                    </a:moveTo>
                    <a:lnTo>
                      <a:pt x="1697" y="0"/>
                    </a:lnTo>
                    <a:cubicBezTo>
                      <a:pt x="760" y="0"/>
                      <a:pt x="0" y="759"/>
                      <a:pt x="0" y="1696"/>
                    </a:cubicBezTo>
                    <a:lnTo>
                      <a:pt x="0" y="1696"/>
                    </a:lnTo>
                    <a:cubicBezTo>
                      <a:pt x="0" y="2632"/>
                      <a:pt x="760" y="3392"/>
                      <a:pt x="1697" y="3392"/>
                    </a:cubicBezTo>
                    <a:lnTo>
                      <a:pt x="1697" y="3392"/>
                    </a:lnTo>
                    <a:cubicBezTo>
                      <a:pt x="2633" y="3392"/>
                      <a:pt x="3392" y="2632"/>
                      <a:pt x="3392" y="1696"/>
                    </a:cubicBezTo>
                    <a:lnTo>
                      <a:pt x="3392" y="1696"/>
                    </a:lnTo>
                    <a:cubicBezTo>
                      <a:pt x="3392" y="759"/>
                      <a:pt x="2633" y="0"/>
                      <a:pt x="1697" y="0"/>
                    </a:cubicBezTo>
                  </a:path>
                </a:pathLst>
              </a:custGeom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2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66" b="0" i="0" u="none" strike="noStrike" kern="1200" cap="none" spc="0" normalizeH="0" baseline="0" noProof="0" dirty="0">
                  <a:ln>
                    <a:noFill/>
                  </a:ln>
                  <a:solidFill>
                    <a:srgbClr val="737572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ADDDAE73-8C8E-B842-A6B7-C8027AAC89E6}"/>
                </a:ext>
              </a:extLst>
            </p:cNvPr>
            <p:cNvGrpSpPr/>
            <p:nvPr/>
          </p:nvGrpSpPr>
          <p:grpSpPr>
            <a:xfrm>
              <a:off x="17572324" y="3455373"/>
              <a:ext cx="4196831" cy="9498627"/>
              <a:chOff x="17034442" y="3455373"/>
              <a:chExt cx="4196831" cy="9498627"/>
            </a:xfrm>
          </p:grpSpPr>
          <p:sp useBgFill="1">
            <p:nvSpPr>
              <p:cNvPr id="31" name="Freeform 11">
                <a:extLst>
                  <a:ext uri="{FF2B5EF4-FFF2-40B4-BE49-F238E27FC236}">
                    <a16:creationId xmlns:a16="http://schemas.microsoft.com/office/drawing/2014/main" id="{B990039B-9969-F047-B344-50554F07E2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206774" y="3539853"/>
                <a:ext cx="3855544" cy="5021329"/>
              </a:xfrm>
              <a:custGeom>
                <a:avLst/>
                <a:gdLst>
                  <a:gd name="T0" fmla="*/ 4994 w 5033"/>
                  <a:gd name="T1" fmla="*/ 6551 h 6552"/>
                  <a:gd name="T2" fmla="*/ 39 w 5033"/>
                  <a:gd name="T3" fmla="*/ 6551 h 6552"/>
                  <a:gd name="T4" fmla="*/ 39 w 5033"/>
                  <a:gd name="T5" fmla="*/ 6551 h 6552"/>
                  <a:gd name="T6" fmla="*/ 0 w 5033"/>
                  <a:gd name="T7" fmla="*/ 6512 h 6552"/>
                  <a:gd name="T8" fmla="*/ 0 w 5033"/>
                  <a:gd name="T9" fmla="*/ 39 h 6552"/>
                  <a:gd name="T10" fmla="*/ 0 w 5033"/>
                  <a:gd name="T11" fmla="*/ 39 h 6552"/>
                  <a:gd name="T12" fmla="*/ 39 w 5033"/>
                  <a:gd name="T13" fmla="*/ 0 h 6552"/>
                  <a:gd name="T14" fmla="*/ 4994 w 5033"/>
                  <a:gd name="T15" fmla="*/ 0 h 6552"/>
                  <a:gd name="T16" fmla="*/ 4994 w 5033"/>
                  <a:gd name="T17" fmla="*/ 0 h 6552"/>
                  <a:gd name="T18" fmla="*/ 5032 w 5033"/>
                  <a:gd name="T19" fmla="*/ 39 h 6552"/>
                  <a:gd name="T20" fmla="*/ 5032 w 5033"/>
                  <a:gd name="T21" fmla="*/ 6512 h 6552"/>
                  <a:gd name="T22" fmla="*/ 5032 w 5033"/>
                  <a:gd name="T23" fmla="*/ 6512 h 6552"/>
                  <a:gd name="T24" fmla="*/ 4994 w 5033"/>
                  <a:gd name="T25" fmla="*/ 6551 h 65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033" h="6552">
                    <a:moveTo>
                      <a:pt x="4994" y="6551"/>
                    </a:moveTo>
                    <a:lnTo>
                      <a:pt x="39" y="6551"/>
                    </a:lnTo>
                    <a:lnTo>
                      <a:pt x="39" y="6551"/>
                    </a:lnTo>
                    <a:cubicBezTo>
                      <a:pt x="18" y="6551"/>
                      <a:pt x="0" y="6533"/>
                      <a:pt x="0" y="6512"/>
                    </a:cubicBezTo>
                    <a:lnTo>
                      <a:pt x="0" y="39"/>
                    </a:lnTo>
                    <a:lnTo>
                      <a:pt x="0" y="39"/>
                    </a:lnTo>
                    <a:cubicBezTo>
                      <a:pt x="0" y="17"/>
                      <a:pt x="18" y="0"/>
                      <a:pt x="39" y="0"/>
                    </a:cubicBezTo>
                    <a:lnTo>
                      <a:pt x="4994" y="0"/>
                    </a:lnTo>
                    <a:lnTo>
                      <a:pt x="4994" y="0"/>
                    </a:lnTo>
                    <a:cubicBezTo>
                      <a:pt x="5015" y="0"/>
                      <a:pt x="5032" y="17"/>
                      <a:pt x="5032" y="39"/>
                    </a:cubicBezTo>
                    <a:lnTo>
                      <a:pt x="5032" y="6512"/>
                    </a:lnTo>
                    <a:lnTo>
                      <a:pt x="5032" y="6512"/>
                    </a:lnTo>
                    <a:cubicBezTo>
                      <a:pt x="5032" y="6533"/>
                      <a:pt x="5015" y="6551"/>
                      <a:pt x="4994" y="6551"/>
                    </a:cubicBezTo>
                  </a:path>
                </a:pathLst>
              </a:custGeom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2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66" b="0" i="0" u="none" strike="noStrike" kern="1200" cap="none" spc="0" normalizeH="0" baseline="0" noProof="0" dirty="0">
                  <a:ln>
                    <a:noFill/>
                  </a:ln>
                  <a:solidFill>
                    <a:srgbClr val="737572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2" name="Freeform 12">
                <a:extLst>
                  <a:ext uri="{FF2B5EF4-FFF2-40B4-BE49-F238E27FC236}">
                    <a16:creationId xmlns:a16="http://schemas.microsoft.com/office/drawing/2014/main" id="{427E2AB0-9AC7-0647-B467-CA0AC96EA8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122298" y="3455373"/>
                <a:ext cx="4027876" cy="5190283"/>
              </a:xfrm>
              <a:custGeom>
                <a:avLst/>
                <a:gdLst>
                  <a:gd name="T0" fmla="*/ 554 w 5255"/>
                  <a:gd name="T1" fmla="*/ 221 h 6774"/>
                  <a:gd name="T2" fmla="*/ 554 w 5255"/>
                  <a:gd name="T3" fmla="*/ 221 h 6774"/>
                  <a:gd name="T4" fmla="*/ 222 w 5255"/>
                  <a:gd name="T5" fmla="*/ 554 h 6774"/>
                  <a:gd name="T6" fmla="*/ 222 w 5255"/>
                  <a:gd name="T7" fmla="*/ 6219 h 6774"/>
                  <a:gd name="T8" fmla="*/ 222 w 5255"/>
                  <a:gd name="T9" fmla="*/ 6219 h 6774"/>
                  <a:gd name="T10" fmla="*/ 554 w 5255"/>
                  <a:gd name="T11" fmla="*/ 6551 h 6774"/>
                  <a:gd name="T12" fmla="*/ 4700 w 5255"/>
                  <a:gd name="T13" fmla="*/ 6551 h 6774"/>
                  <a:gd name="T14" fmla="*/ 4700 w 5255"/>
                  <a:gd name="T15" fmla="*/ 6551 h 6774"/>
                  <a:gd name="T16" fmla="*/ 5033 w 5255"/>
                  <a:gd name="T17" fmla="*/ 6219 h 6774"/>
                  <a:gd name="T18" fmla="*/ 5033 w 5255"/>
                  <a:gd name="T19" fmla="*/ 554 h 6774"/>
                  <a:gd name="T20" fmla="*/ 5033 w 5255"/>
                  <a:gd name="T21" fmla="*/ 554 h 6774"/>
                  <a:gd name="T22" fmla="*/ 4700 w 5255"/>
                  <a:gd name="T23" fmla="*/ 221 h 6774"/>
                  <a:gd name="T24" fmla="*/ 554 w 5255"/>
                  <a:gd name="T25" fmla="*/ 221 h 6774"/>
                  <a:gd name="T26" fmla="*/ 4700 w 5255"/>
                  <a:gd name="T27" fmla="*/ 6773 h 6774"/>
                  <a:gd name="T28" fmla="*/ 554 w 5255"/>
                  <a:gd name="T29" fmla="*/ 6773 h 6774"/>
                  <a:gd name="T30" fmla="*/ 554 w 5255"/>
                  <a:gd name="T31" fmla="*/ 6773 h 6774"/>
                  <a:gd name="T32" fmla="*/ 0 w 5255"/>
                  <a:gd name="T33" fmla="*/ 6219 h 6774"/>
                  <a:gd name="T34" fmla="*/ 0 w 5255"/>
                  <a:gd name="T35" fmla="*/ 554 h 6774"/>
                  <a:gd name="T36" fmla="*/ 0 w 5255"/>
                  <a:gd name="T37" fmla="*/ 554 h 6774"/>
                  <a:gd name="T38" fmla="*/ 554 w 5255"/>
                  <a:gd name="T39" fmla="*/ 0 h 6774"/>
                  <a:gd name="T40" fmla="*/ 4700 w 5255"/>
                  <a:gd name="T41" fmla="*/ 0 h 6774"/>
                  <a:gd name="T42" fmla="*/ 4700 w 5255"/>
                  <a:gd name="T43" fmla="*/ 0 h 6774"/>
                  <a:gd name="T44" fmla="*/ 5254 w 5255"/>
                  <a:gd name="T45" fmla="*/ 554 h 6774"/>
                  <a:gd name="T46" fmla="*/ 5254 w 5255"/>
                  <a:gd name="T47" fmla="*/ 6219 h 6774"/>
                  <a:gd name="T48" fmla="*/ 5254 w 5255"/>
                  <a:gd name="T49" fmla="*/ 6219 h 6774"/>
                  <a:gd name="T50" fmla="*/ 4700 w 5255"/>
                  <a:gd name="T51" fmla="*/ 6773 h 67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255" h="6774">
                    <a:moveTo>
                      <a:pt x="554" y="221"/>
                    </a:moveTo>
                    <a:lnTo>
                      <a:pt x="554" y="221"/>
                    </a:lnTo>
                    <a:cubicBezTo>
                      <a:pt x="371" y="221"/>
                      <a:pt x="222" y="370"/>
                      <a:pt x="222" y="554"/>
                    </a:cubicBezTo>
                    <a:lnTo>
                      <a:pt x="222" y="6219"/>
                    </a:lnTo>
                    <a:lnTo>
                      <a:pt x="222" y="6219"/>
                    </a:lnTo>
                    <a:cubicBezTo>
                      <a:pt x="222" y="6402"/>
                      <a:pt x="371" y="6551"/>
                      <a:pt x="554" y="6551"/>
                    </a:cubicBezTo>
                    <a:lnTo>
                      <a:pt x="4700" y="6551"/>
                    </a:lnTo>
                    <a:lnTo>
                      <a:pt x="4700" y="6551"/>
                    </a:lnTo>
                    <a:cubicBezTo>
                      <a:pt x="4884" y="6551"/>
                      <a:pt x="5033" y="6402"/>
                      <a:pt x="5033" y="6219"/>
                    </a:cubicBezTo>
                    <a:lnTo>
                      <a:pt x="5033" y="554"/>
                    </a:lnTo>
                    <a:lnTo>
                      <a:pt x="5033" y="554"/>
                    </a:lnTo>
                    <a:cubicBezTo>
                      <a:pt x="5033" y="370"/>
                      <a:pt x="4884" y="221"/>
                      <a:pt x="4700" y="221"/>
                    </a:cubicBezTo>
                    <a:lnTo>
                      <a:pt x="554" y="221"/>
                    </a:lnTo>
                    <a:close/>
                    <a:moveTo>
                      <a:pt x="4700" y="6773"/>
                    </a:moveTo>
                    <a:lnTo>
                      <a:pt x="554" y="6773"/>
                    </a:lnTo>
                    <a:lnTo>
                      <a:pt x="554" y="6773"/>
                    </a:lnTo>
                    <a:cubicBezTo>
                      <a:pt x="249" y="6773"/>
                      <a:pt x="0" y="6525"/>
                      <a:pt x="0" y="6219"/>
                    </a:cubicBezTo>
                    <a:lnTo>
                      <a:pt x="0" y="554"/>
                    </a:lnTo>
                    <a:lnTo>
                      <a:pt x="0" y="554"/>
                    </a:lnTo>
                    <a:cubicBezTo>
                      <a:pt x="0" y="249"/>
                      <a:pt x="249" y="0"/>
                      <a:pt x="554" y="0"/>
                    </a:cubicBezTo>
                    <a:lnTo>
                      <a:pt x="4700" y="0"/>
                    </a:lnTo>
                    <a:lnTo>
                      <a:pt x="4700" y="0"/>
                    </a:lnTo>
                    <a:cubicBezTo>
                      <a:pt x="5006" y="0"/>
                      <a:pt x="5254" y="249"/>
                      <a:pt x="5254" y="554"/>
                    </a:cubicBezTo>
                    <a:lnTo>
                      <a:pt x="5254" y="6219"/>
                    </a:lnTo>
                    <a:lnTo>
                      <a:pt x="5254" y="6219"/>
                    </a:lnTo>
                    <a:cubicBezTo>
                      <a:pt x="5254" y="6525"/>
                      <a:pt x="5006" y="6773"/>
                      <a:pt x="4700" y="6773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2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66" b="0" i="0" u="none" strike="noStrike" kern="1200" cap="none" spc="0" normalizeH="0" baseline="0" noProof="0" dirty="0">
                  <a:ln>
                    <a:noFill/>
                  </a:ln>
                  <a:solidFill>
                    <a:srgbClr val="737572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 13">
                <a:extLst>
                  <a:ext uri="{FF2B5EF4-FFF2-40B4-BE49-F238E27FC236}">
                    <a16:creationId xmlns:a16="http://schemas.microsoft.com/office/drawing/2014/main" id="{A2F7EE58-931B-4642-8B43-95FA4F3718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206774" y="7331192"/>
                <a:ext cx="3855544" cy="5457230"/>
              </a:xfrm>
              <a:custGeom>
                <a:avLst/>
                <a:gdLst>
                  <a:gd name="T0" fmla="*/ 2516 w 5033"/>
                  <a:gd name="T1" fmla="*/ 0 h 7120"/>
                  <a:gd name="T2" fmla="*/ 1263 w 5033"/>
                  <a:gd name="T3" fmla="*/ 1704 h 7120"/>
                  <a:gd name="T4" fmla="*/ 1801 w 5033"/>
                  <a:gd name="T5" fmla="*/ 1704 h 7120"/>
                  <a:gd name="T6" fmla="*/ 1801 w 5033"/>
                  <a:gd name="T7" fmla="*/ 2191 h 7120"/>
                  <a:gd name="T8" fmla="*/ 1801 w 5033"/>
                  <a:gd name="T9" fmla="*/ 2191 h 7120"/>
                  <a:gd name="T10" fmla="*/ 0 w 5033"/>
                  <a:gd name="T11" fmla="*/ 4602 h 7120"/>
                  <a:gd name="T12" fmla="*/ 0 w 5033"/>
                  <a:gd name="T13" fmla="*/ 4602 h 7120"/>
                  <a:gd name="T14" fmla="*/ 2516 w 5033"/>
                  <a:gd name="T15" fmla="*/ 7119 h 7120"/>
                  <a:gd name="T16" fmla="*/ 2516 w 5033"/>
                  <a:gd name="T17" fmla="*/ 7119 h 7120"/>
                  <a:gd name="T18" fmla="*/ 5032 w 5033"/>
                  <a:gd name="T19" fmla="*/ 4602 h 7120"/>
                  <a:gd name="T20" fmla="*/ 5032 w 5033"/>
                  <a:gd name="T21" fmla="*/ 4602 h 7120"/>
                  <a:gd name="T22" fmla="*/ 3232 w 5033"/>
                  <a:gd name="T23" fmla="*/ 2191 h 7120"/>
                  <a:gd name="T24" fmla="*/ 3232 w 5033"/>
                  <a:gd name="T25" fmla="*/ 1704 h 7120"/>
                  <a:gd name="T26" fmla="*/ 3770 w 5033"/>
                  <a:gd name="T27" fmla="*/ 1704 h 7120"/>
                  <a:gd name="T28" fmla="*/ 2516 w 5033"/>
                  <a:gd name="T29" fmla="*/ 0 h 7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033" h="7120">
                    <a:moveTo>
                      <a:pt x="2516" y="0"/>
                    </a:moveTo>
                    <a:lnTo>
                      <a:pt x="1263" y="1704"/>
                    </a:lnTo>
                    <a:lnTo>
                      <a:pt x="1801" y="1704"/>
                    </a:lnTo>
                    <a:lnTo>
                      <a:pt x="1801" y="2191"/>
                    </a:lnTo>
                    <a:lnTo>
                      <a:pt x="1801" y="2191"/>
                    </a:lnTo>
                    <a:cubicBezTo>
                      <a:pt x="760" y="2500"/>
                      <a:pt x="0" y="3462"/>
                      <a:pt x="0" y="4602"/>
                    </a:cubicBezTo>
                    <a:lnTo>
                      <a:pt x="0" y="4602"/>
                    </a:lnTo>
                    <a:cubicBezTo>
                      <a:pt x="0" y="5992"/>
                      <a:pt x="1127" y="7119"/>
                      <a:pt x="2516" y="7119"/>
                    </a:cubicBezTo>
                    <a:lnTo>
                      <a:pt x="2516" y="7119"/>
                    </a:lnTo>
                    <a:cubicBezTo>
                      <a:pt x="3906" y="7119"/>
                      <a:pt x="5032" y="5992"/>
                      <a:pt x="5032" y="4602"/>
                    </a:cubicBezTo>
                    <a:lnTo>
                      <a:pt x="5032" y="4602"/>
                    </a:lnTo>
                    <a:cubicBezTo>
                      <a:pt x="5032" y="3462"/>
                      <a:pt x="4273" y="2500"/>
                      <a:pt x="3232" y="2191"/>
                    </a:cubicBezTo>
                    <a:lnTo>
                      <a:pt x="3232" y="1704"/>
                    </a:lnTo>
                    <a:lnTo>
                      <a:pt x="3770" y="1704"/>
                    </a:lnTo>
                    <a:lnTo>
                      <a:pt x="2516" y="0"/>
                    </a:ln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2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66" b="0" i="0" u="none" strike="noStrike" kern="1200" cap="none" spc="0" normalizeH="0" baseline="0" noProof="0" dirty="0">
                  <a:ln>
                    <a:noFill/>
                  </a:ln>
                  <a:solidFill>
                    <a:srgbClr val="737572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endParaRPr>
              </a:p>
            </p:txBody>
          </p:sp>
          <p:sp useBgFill="1">
            <p:nvSpPr>
              <p:cNvPr id="34" name="Freeform 14">
                <a:extLst>
                  <a:ext uri="{FF2B5EF4-FFF2-40B4-BE49-F238E27FC236}">
                    <a16:creationId xmlns:a16="http://schemas.microsoft.com/office/drawing/2014/main" id="{F6446D74-9367-C54A-8092-A4CDDB196A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034442" y="7158857"/>
                <a:ext cx="4196831" cy="5795143"/>
              </a:xfrm>
              <a:custGeom>
                <a:avLst/>
                <a:gdLst>
                  <a:gd name="T0" fmla="*/ 2738 w 5477"/>
                  <a:gd name="T1" fmla="*/ 0 h 7563"/>
                  <a:gd name="T2" fmla="*/ 2738 w 5477"/>
                  <a:gd name="T3" fmla="*/ 0 h 7563"/>
                  <a:gd name="T4" fmla="*/ 2560 w 5477"/>
                  <a:gd name="T5" fmla="*/ 91 h 7563"/>
                  <a:gd name="T6" fmla="*/ 1306 w 5477"/>
                  <a:gd name="T7" fmla="*/ 1795 h 7563"/>
                  <a:gd name="T8" fmla="*/ 1306 w 5477"/>
                  <a:gd name="T9" fmla="*/ 1795 h 7563"/>
                  <a:gd name="T10" fmla="*/ 1287 w 5477"/>
                  <a:gd name="T11" fmla="*/ 2026 h 7563"/>
                  <a:gd name="T12" fmla="*/ 1287 w 5477"/>
                  <a:gd name="T13" fmla="*/ 2026 h 7563"/>
                  <a:gd name="T14" fmla="*/ 1485 w 5477"/>
                  <a:gd name="T15" fmla="*/ 2148 h 7563"/>
                  <a:gd name="T16" fmla="*/ 1800 w 5477"/>
                  <a:gd name="T17" fmla="*/ 2148 h 7563"/>
                  <a:gd name="T18" fmla="*/ 1800 w 5477"/>
                  <a:gd name="T19" fmla="*/ 2253 h 7563"/>
                  <a:gd name="T20" fmla="*/ 1800 w 5477"/>
                  <a:gd name="T21" fmla="*/ 2253 h 7563"/>
                  <a:gd name="T22" fmla="*/ 0 w 5477"/>
                  <a:gd name="T23" fmla="*/ 4824 h 7563"/>
                  <a:gd name="T24" fmla="*/ 0 w 5477"/>
                  <a:gd name="T25" fmla="*/ 4824 h 7563"/>
                  <a:gd name="T26" fmla="*/ 2738 w 5477"/>
                  <a:gd name="T27" fmla="*/ 7562 h 7563"/>
                  <a:gd name="T28" fmla="*/ 2738 w 5477"/>
                  <a:gd name="T29" fmla="*/ 7562 h 7563"/>
                  <a:gd name="T30" fmla="*/ 5476 w 5477"/>
                  <a:gd name="T31" fmla="*/ 4824 h 7563"/>
                  <a:gd name="T32" fmla="*/ 5476 w 5477"/>
                  <a:gd name="T33" fmla="*/ 4824 h 7563"/>
                  <a:gd name="T34" fmla="*/ 3676 w 5477"/>
                  <a:gd name="T35" fmla="*/ 2253 h 7563"/>
                  <a:gd name="T36" fmla="*/ 3676 w 5477"/>
                  <a:gd name="T37" fmla="*/ 2148 h 7563"/>
                  <a:gd name="T38" fmla="*/ 3992 w 5477"/>
                  <a:gd name="T39" fmla="*/ 2148 h 7563"/>
                  <a:gd name="T40" fmla="*/ 3992 w 5477"/>
                  <a:gd name="T41" fmla="*/ 2148 h 7563"/>
                  <a:gd name="T42" fmla="*/ 4190 w 5477"/>
                  <a:gd name="T43" fmla="*/ 2026 h 7563"/>
                  <a:gd name="T44" fmla="*/ 4190 w 5477"/>
                  <a:gd name="T45" fmla="*/ 2026 h 7563"/>
                  <a:gd name="T46" fmla="*/ 4170 w 5477"/>
                  <a:gd name="T47" fmla="*/ 1795 h 7563"/>
                  <a:gd name="T48" fmla="*/ 2917 w 5477"/>
                  <a:gd name="T49" fmla="*/ 91 h 7563"/>
                  <a:gd name="T50" fmla="*/ 2917 w 5477"/>
                  <a:gd name="T51" fmla="*/ 91 h 7563"/>
                  <a:gd name="T52" fmla="*/ 2738 w 5477"/>
                  <a:gd name="T53" fmla="*/ 0 h 7563"/>
                  <a:gd name="T54" fmla="*/ 2738 w 5477"/>
                  <a:gd name="T55" fmla="*/ 222 h 7563"/>
                  <a:gd name="T56" fmla="*/ 3992 w 5477"/>
                  <a:gd name="T57" fmla="*/ 1926 h 7563"/>
                  <a:gd name="T58" fmla="*/ 3454 w 5477"/>
                  <a:gd name="T59" fmla="*/ 1926 h 7563"/>
                  <a:gd name="T60" fmla="*/ 3454 w 5477"/>
                  <a:gd name="T61" fmla="*/ 2413 h 7563"/>
                  <a:gd name="T62" fmla="*/ 3454 w 5477"/>
                  <a:gd name="T63" fmla="*/ 2413 h 7563"/>
                  <a:gd name="T64" fmla="*/ 5254 w 5477"/>
                  <a:gd name="T65" fmla="*/ 4824 h 7563"/>
                  <a:gd name="T66" fmla="*/ 5254 w 5477"/>
                  <a:gd name="T67" fmla="*/ 4824 h 7563"/>
                  <a:gd name="T68" fmla="*/ 2738 w 5477"/>
                  <a:gd name="T69" fmla="*/ 7341 h 7563"/>
                  <a:gd name="T70" fmla="*/ 2738 w 5477"/>
                  <a:gd name="T71" fmla="*/ 7341 h 7563"/>
                  <a:gd name="T72" fmla="*/ 222 w 5477"/>
                  <a:gd name="T73" fmla="*/ 4824 h 7563"/>
                  <a:gd name="T74" fmla="*/ 222 w 5477"/>
                  <a:gd name="T75" fmla="*/ 4824 h 7563"/>
                  <a:gd name="T76" fmla="*/ 2023 w 5477"/>
                  <a:gd name="T77" fmla="*/ 2413 h 7563"/>
                  <a:gd name="T78" fmla="*/ 2023 w 5477"/>
                  <a:gd name="T79" fmla="*/ 1926 h 7563"/>
                  <a:gd name="T80" fmla="*/ 1485 w 5477"/>
                  <a:gd name="T81" fmla="*/ 1926 h 7563"/>
                  <a:gd name="T82" fmla="*/ 2738 w 5477"/>
                  <a:gd name="T83" fmla="*/ 222 h 75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5477" h="7563">
                    <a:moveTo>
                      <a:pt x="2738" y="0"/>
                    </a:moveTo>
                    <a:lnTo>
                      <a:pt x="2738" y="0"/>
                    </a:lnTo>
                    <a:cubicBezTo>
                      <a:pt x="2668" y="0"/>
                      <a:pt x="2602" y="34"/>
                      <a:pt x="2560" y="91"/>
                    </a:cubicBezTo>
                    <a:lnTo>
                      <a:pt x="1306" y="1795"/>
                    </a:lnTo>
                    <a:lnTo>
                      <a:pt x="1306" y="1795"/>
                    </a:lnTo>
                    <a:cubicBezTo>
                      <a:pt x="1256" y="1862"/>
                      <a:pt x="1250" y="1952"/>
                      <a:pt x="1287" y="2026"/>
                    </a:cubicBezTo>
                    <a:lnTo>
                      <a:pt x="1287" y="2026"/>
                    </a:lnTo>
                    <a:cubicBezTo>
                      <a:pt x="1325" y="2101"/>
                      <a:pt x="1401" y="2148"/>
                      <a:pt x="1485" y="2148"/>
                    </a:cubicBezTo>
                    <a:lnTo>
                      <a:pt x="1800" y="2148"/>
                    </a:lnTo>
                    <a:lnTo>
                      <a:pt x="1800" y="2253"/>
                    </a:lnTo>
                    <a:lnTo>
                      <a:pt x="1800" y="2253"/>
                    </a:lnTo>
                    <a:cubicBezTo>
                      <a:pt x="733" y="2643"/>
                      <a:pt x="0" y="3677"/>
                      <a:pt x="0" y="4824"/>
                    </a:cubicBezTo>
                    <a:lnTo>
                      <a:pt x="0" y="4824"/>
                    </a:lnTo>
                    <a:cubicBezTo>
                      <a:pt x="0" y="6334"/>
                      <a:pt x="1228" y="7562"/>
                      <a:pt x="2738" y="7562"/>
                    </a:cubicBezTo>
                    <a:lnTo>
                      <a:pt x="2738" y="7562"/>
                    </a:lnTo>
                    <a:cubicBezTo>
                      <a:pt x="4248" y="7562"/>
                      <a:pt x="5476" y="6334"/>
                      <a:pt x="5476" y="4824"/>
                    </a:cubicBezTo>
                    <a:lnTo>
                      <a:pt x="5476" y="4824"/>
                    </a:lnTo>
                    <a:cubicBezTo>
                      <a:pt x="5476" y="3677"/>
                      <a:pt x="4744" y="2643"/>
                      <a:pt x="3676" y="2253"/>
                    </a:cubicBezTo>
                    <a:lnTo>
                      <a:pt x="3676" y="2148"/>
                    </a:lnTo>
                    <a:lnTo>
                      <a:pt x="3992" y="2148"/>
                    </a:lnTo>
                    <a:lnTo>
                      <a:pt x="3992" y="2148"/>
                    </a:lnTo>
                    <a:cubicBezTo>
                      <a:pt x="4075" y="2148"/>
                      <a:pt x="4152" y="2101"/>
                      <a:pt x="4190" y="2026"/>
                    </a:cubicBezTo>
                    <a:lnTo>
                      <a:pt x="4190" y="2026"/>
                    </a:lnTo>
                    <a:cubicBezTo>
                      <a:pt x="4227" y="1952"/>
                      <a:pt x="4220" y="1862"/>
                      <a:pt x="4170" y="1795"/>
                    </a:cubicBezTo>
                    <a:lnTo>
                      <a:pt x="2917" y="91"/>
                    </a:lnTo>
                    <a:lnTo>
                      <a:pt x="2917" y="91"/>
                    </a:lnTo>
                    <a:cubicBezTo>
                      <a:pt x="2875" y="34"/>
                      <a:pt x="2809" y="0"/>
                      <a:pt x="2738" y="0"/>
                    </a:cubicBezTo>
                    <a:close/>
                    <a:moveTo>
                      <a:pt x="2738" y="222"/>
                    </a:moveTo>
                    <a:lnTo>
                      <a:pt x="3992" y="1926"/>
                    </a:lnTo>
                    <a:lnTo>
                      <a:pt x="3454" y="1926"/>
                    </a:lnTo>
                    <a:lnTo>
                      <a:pt x="3454" y="2413"/>
                    </a:lnTo>
                    <a:lnTo>
                      <a:pt x="3454" y="2413"/>
                    </a:lnTo>
                    <a:cubicBezTo>
                      <a:pt x="4495" y="2722"/>
                      <a:pt x="5254" y="3684"/>
                      <a:pt x="5254" y="4824"/>
                    </a:cubicBezTo>
                    <a:lnTo>
                      <a:pt x="5254" y="4824"/>
                    </a:lnTo>
                    <a:cubicBezTo>
                      <a:pt x="5254" y="6214"/>
                      <a:pt x="4128" y="7341"/>
                      <a:pt x="2738" y="7341"/>
                    </a:cubicBezTo>
                    <a:lnTo>
                      <a:pt x="2738" y="7341"/>
                    </a:lnTo>
                    <a:cubicBezTo>
                      <a:pt x="1349" y="7341"/>
                      <a:pt x="222" y="6214"/>
                      <a:pt x="222" y="4824"/>
                    </a:cubicBezTo>
                    <a:lnTo>
                      <a:pt x="222" y="4824"/>
                    </a:lnTo>
                    <a:cubicBezTo>
                      <a:pt x="222" y="3684"/>
                      <a:pt x="982" y="2721"/>
                      <a:pt x="2023" y="2413"/>
                    </a:cubicBezTo>
                    <a:lnTo>
                      <a:pt x="2023" y="1926"/>
                    </a:lnTo>
                    <a:lnTo>
                      <a:pt x="1485" y="1926"/>
                    </a:lnTo>
                    <a:lnTo>
                      <a:pt x="2738" y="222"/>
                    </a:lnTo>
                    <a:close/>
                  </a:path>
                </a:pathLst>
              </a:custGeom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2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66" b="0" i="0" u="none" strike="noStrike" kern="1200" cap="none" spc="0" normalizeH="0" baseline="0" noProof="0" dirty="0">
                  <a:ln>
                    <a:noFill/>
                  </a:ln>
                  <a:solidFill>
                    <a:srgbClr val="737572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endParaRPr>
              </a:p>
            </p:txBody>
          </p:sp>
          <p:sp useBgFill="1">
            <p:nvSpPr>
              <p:cNvPr id="35" name="Freeform 15">
                <a:extLst>
                  <a:ext uri="{FF2B5EF4-FFF2-40B4-BE49-F238E27FC236}">
                    <a16:creationId xmlns:a16="http://schemas.microsoft.com/office/drawing/2014/main" id="{76A9AAE2-4691-2A45-B3CD-B551963ECB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671865" y="9397973"/>
                <a:ext cx="2938878" cy="2938876"/>
              </a:xfrm>
              <a:custGeom>
                <a:avLst/>
                <a:gdLst>
                  <a:gd name="T0" fmla="*/ 1697 w 3393"/>
                  <a:gd name="T1" fmla="*/ 0 h 3393"/>
                  <a:gd name="T2" fmla="*/ 1697 w 3393"/>
                  <a:gd name="T3" fmla="*/ 0 h 3393"/>
                  <a:gd name="T4" fmla="*/ 0 w 3393"/>
                  <a:gd name="T5" fmla="*/ 1696 h 3393"/>
                  <a:gd name="T6" fmla="*/ 0 w 3393"/>
                  <a:gd name="T7" fmla="*/ 1696 h 3393"/>
                  <a:gd name="T8" fmla="*/ 1697 w 3393"/>
                  <a:gd name="T9" fmla="*/ 3392 h 3393"/>
                  <a:gd name="T10" fmla="*/ 1697 w 3393"/>
                  <a:gd name="T11" fmla="*/ 3392 h 3393"/>
                  <a:gd name="T12" fmla="*/ 3392 w 3393"/>
                  <a:gd name="T13" fmla="*/ 1696 h 3393"/>
                  <a:gd name="T14" fmla="*/ 3392 w 3393"/>
                  <a:gd name="T15" fmla="*/ 1696 h 3393"/>
                  <a:gd name="T16" fmla="*/ 1697 w 3393"/>
                  <a:gd name="T17" fmla="*/ 0 h 33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93" h="3393">
                    <a:moveTo>
                      <a:pt x="1697" y="0"/>
                    </a:moveTo>
                    <a:lnTo>
                      <a:pt x="1697" y="0"/>
                    </a:lnTo>
                    <a:cubicBezTo>
                      <a:pt x="760" y="0"/>
                      <a:pt x="0" y="759"/>
                      <a:pt x="0" y="1696"/>
                    </a:cubicBezTo>
                    <a:lnTo>
                      <a:pt x="0" y="1696"/>
                    </a:lnTo>
                    <a:cubicBezTo>
                      <a:pt x="0" y="2632"/>
                      <a:pt x="760" y="3392"/>
                      <a:pt x="1697" y="3392"/>
                    </a:cubicBezTo>
                    <a:lnTo>
                      <a:pt x="1697" y="3392"/>
                    </a:lnTo>
                    <a:cubicBezTo>
                      <a:pt x="2633" y="3392"/>
                      <a:pt x="3392" y="2632"/>
                      <a:pt x="3392" y="1696"/>
                    </a:cubicBezTo>
                    <a:lnTo>
                      <a:pt x="3392" y="1696"/>
                    </a:lnTo>
                    <a:cubicBezTo>
                      <a:pt x="3392" y="759"/>
                      <a:pt x="2633" y="0"/>
                      <a:pt x="1697" y="0"/>
                    </a:cubicBezTo>
                  </a:path>
                </a:pathLst>
              </a:custGeom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2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66" b="0" i="0" u="none" strike="noStrike" kern="1200" cap="none" spc="0" normalizeH="0" baseline="0" noProof="0" dirty="0">
                  <a:ln>
                    <a:noFill/>
                  </a:ln>
                  <a:solidFill>
                    <a:srgbClr val="737572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43" name="Subtitle 2">
            <a:extLst>
              <a:ext uri="{FF2B5EF4-FFF2-40B4-BE49-F238E27FC236}">
                <a16:creationId xmlns:a16="http://schemas.microsoft.com/office/drawing/2014/main" id="{CBCE78FE-1F67-AE4F-A077-FA9FEFC53E8D}"/>
              </a:ext>
            </a:extLst>
          </p:cNvPr>
          <p:cNvSpPr txBox="1">
            <a:spLocks/>
          </p:cNvSpPr>
          <p:nvPr/>
        </p:nvSpPr>
        <p:spPr>
          <a:xfrm>
            <a:off x="1563339" y="1637284"/>
            <a:ext cx="1309398" cy="1175386"/>
          </a:xfrm>
          <a:prstGeom prst="rect">
            <a:avLst/>
          </a:prstGeom>
        </p:spPr>
        <p:txBody>
          <a:bodyPr vert="horz" wrap="squar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543818" rtl="0" eaLnBrk="1" fontAlgn="auto" latinLnBrk="0" hangingPunct="1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Phylogenetic transmission dynamics show us who we need to focus on – MEN</a:t>
            </a:r>
          </a:p>
        </p:txBody>
      </p:sp>
      <p:sp>
        <p:nvSpPr>
          <p:cNvPr id="44" name="Subtitle 2">
            <a:extLst>
              <a:ext uri="{FF2B5EF4-FFF2-40B4-BE49-F238E27FC236}">
                <a16:creationId xmlns:a16="http://schemas.microsoft.com/office/drawing/2014/main" id="{67E1D7BD-2F37-014D-B673-8AB5A45590D4}"/>
              </a:ext>
            </a:extLst>
          </p:cNvPr>
          <p:cNvSpPr txBox="1">
            <a:spLocks/>
          </p:cNvSpPr>
          <p:nvPr/>
        </p:nvSpPr>
        <p:spPr>
          <a:xfrm>
            <a:off x="4152027" y="1752700"/>
            <a:ext cx="1309398" cy="944554"/>
          </a:xfrm>
          <a:prstGeom prst="rect">
            <a:avLst/>
          </a:prstGeom>
        </p:spPr>
        <p:txBody>
          <a:bodyPr vert="horz" wrap="squar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543818" rtl="0" eaLnBrk="1" fontAlgn="auto" latinLnBrk="0" hangingPunct="1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Less access to prevention, testing and treatment services.</a:t>
            </a:r>
          </a:p>
        </p:txBody>
      </p:sp>
      <p:sp>
        <p:nvSpPr>
          <p:cNvPr id="45" name="Subtitle 2">
            <a:extLst>
              <a:ext uri="{FF2B5EF4-FFF2-40B4-BE49-F238E27FC236}">
                <a16:creationId xmlns:a16="http://schemas.microsoft.com/office/drawing/2014/main" id="{50C23704-1BF2-DF4F-A5DF-517C41EF8C5C}"/>
              </a:ext>
            </a:extLst>
          </p:cNvPr>
          <p:cNvSpPr txBox="1">
            <a:spLocks/>
          </p:cNvSpPr>
          <p:nvPr/>
        </p:nvSpPr>
        <p:spPr>
          <a:xfrm>
            <a:off x="9317573" y="1983532"/>
            <a:ext cx="1309398" cy="482889"/>
          </a:xfrm>
          <a:prstGeom prst="rect">
            <a:avLst/>
          </a:prstGeom>
        </p:spPr>
        <p:txBody>
          <a:bodyPr vert="horz" wrap="squar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543818" rtl="0" eaLnBrk="1" fontAlgn="auto" latinLnBrk="0" hangingPunct="1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Its all about ending AIDS. </a:t>
            </a:r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290C72D6-D512-F64D-B661-E1D9B76DAF6E}"/>
              </a:ext>
            </a:extLst>
          </p:cNvPr>
          <p:cNvSpPr txBox="1">
            <a:spLocks/>
          </p:cNvSpPr>
          <p:nvPr/>
        </p:nvSpPr>
        <p:spPr>
          <a:xfrm>
            <a:off x="6728819" y="1868117"/>
            <a:ext cx="1309398" cy="713722"/>
          </a:xfrm>
          <a:prstGeom prst="rect">
            <a:avLst/>
          </a:prstGeom>
        </p:spPr>
        <p:txBody>
          <a:bodyPr vert="horz" wrap="squar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543818" rtl="0" eaLnBrk="1" fontAlgn="auto" latinLnBrk="0" hangingPunct="1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Close to a 10% gap and difference on 95-95-95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FB6F7C9-E8CB-6C49-97BF-E2449CABB3AC}"/>
              </a:ext>
            </a:extLst>
          </p:cNvPr>
          <p:cNvSpPr txBox="1"/>
          <p:nvPr/>
        </p:nvSpPr>
        <p:spPr>
          <a:xfrm>
            <a:off x="1421992" y="4588623"/>
            <a:ext cx="1592103" cy="523220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45469"/>
                </a:solidFill>
                <a:effectLst/>
                <a:uLnTx/>
                <a:uFillTx/>
                <a:latin typeface="Poppins" pitchFamily="2" charset="77"/>
                <a:ea typeface="League Spartan" charset="0"/>
                <a:cs typeface="Poppins" pitchFamily="2" charset="77"/>
              </a:rPr>
              <a:t>TRANSMISSION </a:t>
            </a:r>
          </a:p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45469"/>
                </a:solidFill>
                <a:effectLst/>
                <a:uLnTx/>
                <a:uFillTx/>
                <a:latin typeface="Poppins" pitchFamily="2" charset="77"/>
                <a:ea typeface="League Spartan" charset="0"/>
                <a:cs typeface="Poppins" pitchFamily="2" charset="77"/>
              </a:rPr>
              <a:t>dynamics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6B09C1D4-47B7-FD4A-92EC-903A2DDA24BB}"/>
              </a:ext>
            </a:extLst>
          </p:cNvPr>
          <p:cNvSpPr txBox="1"/>
          <p:nvPr/>
        </p:nvSpPr>
        <p:spPr>
          <a:xfrm>
            <a:off x="7056440" y="4480901"/>
            <a:ext cx="686406" cy="73866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45469"/>
                </a:solidFill>
                <a:effectLst/>
                <a:uLnTx/>
                <a:uFillTx/>
                <a:latin typeface="Poppins" pitchFamily="2" charset="77"/>
                <a:ea typeface="League Spartan" charset="0"/>
                <a:cs typeface="Poppins" pitchFamily="2" charset="77"/>
              </a:rPr>
              <a:t>DATA</a:t>
            </a:r>
          </a:p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45469"/>
                </a:solidFill>
                <a:effectLst/>
                <a:uLnTx/>
                <a:uFillTx/>
                <a:latin typeface="Poppins" pitchFamily="2" charset="77"/>
                <a:ea typeface="League Spartan" charset="0"/>
                <a:cs typeface="Poppins" pitchFamily="2" charset="77"/>
              </a:rPr>
              <a:t>gaps</a:t>
            </a:r>
          </a:p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445469"/>
              </a:solidFill>
              <a:effectLst/>
              <a:uLnTx/>
              <a:uFillTx/>
              <a:latin typeface="Poppins" pitchFamily="2" charset="77"/>
              <a:ea typeface="League Spartan" charset="0"/>
              <a:cs typeface="Poppins" pitchFamily="2" charset="77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54E9CF1-0882-3249-8724-F175354C994D}"/>
              </a:ext>
            </a:extLst>
          </p:cNvPr>
          <p:cNvSpPr txBox="1"/>
          <p:nvPr/>
        </p:nvSpPr>
        <p:spPr>
          <a:xfrm>
            <a:off x="4184342" y="4588623"/>
            <a:ext cx="1234632" cy="523220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45469"/>
                </a:solidFill>
                <a:effectLst/>
                <a:uLnTx/>
                <a:uFillTx/>
                <a:latin typeface="Poppins" pitchFamily="2" charset="77"/>
                <a:ea typeface="League Spartan" charset="0"/>
                <a:cs typeface="Poppins" pitchFamily="2" charset="77"/>
              </a:rPr>
              <a:t>INEQUALITY</a:t>
            </a:r>
          </a:p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45469"/>
                </a:solidFill>
                <a:effectLst/>
                <a:uLnTx/>
                <a:uFillTx/>
                <a:latin typeface="Poppins" pitchFamily="2" charset="77"/>
                <a:ea typeface="League Spartan" charset="0"/>
                <a:cs typeface="Poppins" pitchFamily="2" charset="77"/>
              </a:rPr>
              <a:t>lens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E4EAC296-C023-4541-9993-C23183D21795}"/>
              </a:ext>
            </a:extLst>
          </p:cNvPr>
          <p:cNvSpPr txBox="1"/>
          <p:nvPr/>
        </p:nvSpPr>
        <p:spPr>
          <a:xfrm>
            <a:off x="9304463" y="4696343"/>
            <a:ext cx="1335623" cy="307777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45469"/>
                </a:solidFill>
                <a:effectLst/>
                <a:uLnTx/>
                <a:uFillTx/>
                <a:latin typeface="Poppins" pitchFamily="2" charset="77"/>
                <a:ea typeface="League Spartan" charset="0"/>
                <a:cs typeface="Poppins" pitchFamily="2" charset="77"/>
              </a:rPr>
              <a:t>ENDING AID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5FAE7E40-C593-44CB-8C89-70CE29DF4A11}"/>
              </a:ext>
            </a:extLst>
          </p:cNvPr>
          <p:cNvSpPr txBox="1"/>
          <p:nvPr/>
        </p:nvSpPr>
        <p:spPr>
          <a:xfrm>
            <a:off x="340162" y="120332"/>
            <a:ext cx="11365345" cy="584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-145" normalizeH="0" baseline="0" noProof="0" dirty="0">
                <a:ln>
                  <a:noFill/>
                </a:ln>
                <a:solidFill>
                  <a:srgbClr val="111340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Shifting the tide – The TIDE rationale for a focus on men</a:t>
            </a:r>
          </a:p>
        </p:txBody>
      </p:sp>
      <p:pic>
        <p:nvPicPr>
          <p:cNvPr id="38" name="Image" descr="Image">
            <a:extLst>
              <a:ext uri="{FF2B5EF4-FFF2-40B4-BE49-F238E27FC236}">
                <a16:creationId xmlns:a16="http://schemas.microsoft.com/office/drawing/2014/main" id="{F67AC31A-7D97-4028-9F9B-CEE5FDF64D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16999" y="5740399"/>
            <a:ext cx="3175001" cy="111760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850637393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2299868E-EF1F-4911-9569-6BAE456A1715}"/>
              </a:ext>
            </a:extLst>
          </p:cNvPr>
          <p:cNvSpPr txBox="1"/>
          <p:nvPr/>
        </p:nvSpPr>
        <p:spPr>
          <a:xfrm>
            <a:off x="0" y="17755"/>
            <a:ext cx="12192000" cy="584775"/>
          </a:xfrm>
          <a:prstGeom prst="rect">
            <a:avLst/>
          </a:prstGeom>
          <a:solidFill>
            <a:srgbClr val="0070C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The quickest path to ending AID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2A8BB5-CCD7-C07E-7E76-98BE519E23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3284489"/>
            <a:ext cx="2704344" cy="1749681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2EBE6F9F-7E54-78AB-42E0-4C199A49EE6F}"/>
              </a:ext>
            </a:extLst>
          </p:cNvPr>
          <p:cNvSpPr txBox="1"/>
          <p:nvPr/>
        </p:nvSpPr>
        <p:spPr>
          <a:xfrm>
            <a:off x="8042660" y="3528787"/>
            <a:ext cx="2599214" cy="384721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defTabSz="914217"/>
            <a:r>
              <a:rPr lang="en-US" sz="1900" b="1" spc="150" dirty="0">
                <a:solidFill>
                  <a:srgbClr val="1BB1EC"/>
                </a:solidFill>
                <a:latin typeface="Bebas Neue" pitchFamily="2" charset="0"/>
                <a:ea typeface="League Spartan" charset="0"/>
                <a:cs typeface="Poppins" pitchFamily="2" charset="77"/>
              </a:rPr>
              <a:t>Switching off the tap!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AE6BDBCC-5FA9-0AE6-9B74-903F3CA1887E}"/>
              </a:ext>
            </a:extLst>
          </p:cNvPr>
          <p:cNvSpPr txBox="1">
            <a:spLocks/>
          </p:cNvSpPr>
          <p:nvPr/>
        </p:nvSpPr>
        <p:spPr>
          <a:xfrm>
            <a:off x="7531758" y="3919855"/>
            <a:ext cx="4340646" cy="571729"/>
          </a:xfrm>
          <a:prstGeom prst="rect">
            <a:avLst/>
          </a:prstGeom>
        </p:spPr>
        <p:txBody>
          <a:bodyPr vert="horz" wrap="square" lIns="108745" tIns="54373" rIns="108745" bIns="54373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defTabSz="543818">
              <a:lnSpc>
                <a:spcPts val="1850"/>
              </a:lnSpc>
            </a:pPr>
            <a:r>
              <a:rPr lang="en-US" sz="1300" dirty="0">
                <a:solidFill>
                  <a:srgbClr val="272727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We need to attack frontally sources of new infections (men)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B1169A0-3FFD-5C7B-EDA0-89D89638B0A3}"/>
              </a:ext>
            </a:extLst>
          </p:cNvPr>
          <p:cNvSpPr txBox="1"/>
          <p:nvPr/>
        </p:nvSpPr>
        <p:spPr>
          <a:xfrm>
            <a:off x="8042660" y="4827869"/>
            <a:ext cx="2790220" cy="384721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defTabSz="914217"/>
            <a:r>
              <a:rPr lang="en-US" sz="1900" b="1" spc="150" dirty="0">
                <a:solidFill>
                  <a:srgbClr val="0A67D4"/>
                </a:solidFill>
                <a:latin typeface="Bebas Neue" pitchFamily="2" charset="0"/>
                <a:ea typeface="League Spartan" charset="0"/>
                <a:cs typeface="Poppins" pitchFamily="2" charset="77"/>
              </a:rPr>
              <a:t>Focus on the bottom line</a:t>
            </a:r>
          </a:p>
        </p:txBody>
      </p:sp>
      <p:sp>
        <p:nvSpPr>
          <p:cNvPr id="38" name="Subtitle 2">
            <a:extLst>
              <a:ext uri="{FF2B5EF4-FFF2-40B4-BE49-F238E27FC236}">
                <a16:creationId xmlns:a16="http://schemas.microsoft.com/office/drawing/2014/main" id="{81E66B80-8DA8-9561-42AC-E5C958DE0075}"/>
              </a:ext>
            </a:extLst>
          </p:cNvPr>
          <p:cNvSpPr txBox="1">
            <a:spLocks/>
          </p:cNvSpPr>
          <p:nvPr/>
        </p:nvSpPr>
        <p:spPr>
          <a:xfrm>
            <a:off x="7531758" y="5182220"/>
            <a:ext cx="4340646" cy="571729"/>
          </a:xfrm>
          <a:prstGeom prst="rect">
            <a:avLst/>
          </a:prstGeom>
        </p:spPr>
        <p:txBody>
          <a:bodyPr vert="horz" wrap="square" lIns="108745" tIns="54373" rIns="108745" bIns="54373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defTabSz="543818">
              <a:lnSpc>
                <a:spcPts val="1850"/>
              </a:lnSpc>
            </a:pPr>
            <a:r>
              <a:rPr lang="en-US" sz="1300" dirty="0">
                <a:solidFill>
                  <a:srgbClr val="272727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Access, quality and support. Be pragmatic on evidence-based interventions and less on ‘changing behaviour’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73D8A69C-81FE-2CD3-5358-8E82F4D2B851}"/>
              </a:ext>
            </a:extLst>
          </p:cNvPr>
          <p:cNvSpPr txBox="1"/>
          <p:nvPr/>
        </p:nvSpPr>
        <p:spPr>
          <a:xfrm>
            <a:off x="8042660" y="2254534"/>
            <a:ext cx="2790220" cy="384721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defTabSz="914217"/>
            <a:r>
              <a:rPr lang="en-US" sz="1900" b="1" spc="150" dirty="0">
                <a:solidFill>
                  <a:srgbClr val="27AC95"/>
                </a:solidFill>
                <a:latin typeface="Bebas Neue" pitchFamily="2" charset="0"/>
                <a:ea typeface="League Spartan" charset="0"/>
                <a:cs typeface="Poppins" pitchFamily="2" charset="77"/>
              </a:rPr>
              <a:t>Doing things differently</a:t>
            </a:r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6341E866-0DB4-59C6-5BB9-FFF1E9AEE670}"/>
              </a:ext>
            </a:extLst>
          </p:cNvPr>
          <p:cNvSpPr txBox="1">
            <a:spLocks/>
          </p:cNvSpPr>
          <p:nvPr/>
        </p:nvSpPr>
        <p:spPr>
          <a:xfrm>
            <a:off x="7531758" y="2625890"/>
            <a:ext cx="4340646" cy="571729"/>
          </a:xfrm>
          <a:prstGeom prst="rect">
            <a:avLst/>
          </a:prstGeom>
        </p:spPr>
        <p:txBody>
          <a:bodyPr vert="horz" wrap="square" lIns="108745" tIns="54373" rIns="108745" bIns="54373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defTabSz="543818">
              <a:lnSpc>
                <a:spcPts val="1850"/>
              </a:lnSpc>
            </a:pPr>
            <a:r>
              <a:rPr lang="en-US" sz="1300" dirty="0">
                <a:solidFill>
                  <a:srgbClr val="272727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It means a focus on novel populations (men) and innovations like never before</a:t>
            </a:r>
          </a:p>
        </p:txBody>
      </p:sp>
      <p:sp>
        <p:nvSpPr>
          <p:cNvPr id="44" name="Shape 3156">
            <a:extLst>
              <a:ext uri="{FF2B5EF4-FFF2-40B4-BE49-F238E27FC236}">
                <a16:creationId xmlns:a16="http://schemas.microsoft.com/office/drawing/2014/main" id="{73A0E7A3-274B-0141-E924-6C72CB51C315}"/>
              </a:ext>
            </a:extLst>
          </p:cNvPr>
          <p:cNvSpPr/>
          <p:nvPr/>
        </p:nvSpPr>
        <p:spPr>
          <a:xfrm>
            <a:off x="2803004" y="2767595"/>
            <a:ext cx="4728754" cy="2489603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4578" y="71489"/>
                </a:moveTo>
                <a:cubicBezTo>
                  <a:pt x="119999" y="65106"/>
                  <a:pt x="119999" y="54893"/>
                  <a:pt x="114578" y="48510"/>
                </a:cubicBezTo>
                <a:cubicBezTo>
                  <a:pt x="79156" y="6382"/>
                  <a:pt x="79156" y="6382"/>
                  <a:pt x="79156" y="6382"/>
                </a:cubicBezTo>
                <a:cubicBezTo>
                  <a:pt x="73734" y="0"/>
                  <a:pt x="69036" y="2127"/>
                  <a:pt x="69036" y="11063"/>
                </a:cubicBezTo>
                <a:cubicBezTo>
                  <a:pt x="69036" y="11063"/>
                  <a:pt x="69036" y="11063"/>
                  <a:pt x="69036" y="11063"/>
                </a:cubicBezTo>
                <a:cubicBezTo>
                  <a:pt x="69036" y="20000"/>
                  <a:pt x="62891" y="27659"/>
                  <a:pt x="55301" y="27659"/>
                </a:cubicBezTo>
                <a:cubicBezTo>
                  <a:pt x="14096" y="27659"/>
                  <a:pt x="14096" y="27659"/>
                  <a:pt x="14096" y="27659"/>
                </a:cubicBezTo>
                <a:cubicBezTo>
                  <a:pt x="6506" y="27659"/>
                  <a:pt x="0" y="34893"/>
                  <a:pt x="0" y="43829"/>
                </a:cubicBezTo>
                <a:cubicBezTo>
                  <a:pt x="0" y="76170"/>
                  <a:pt x="0" y="76170"/>
                  <a:pt x="0" y="76170"/>
                </a:cubicBezTo>
                <a:cubicBezTo>
                  <a:pt x="0" y="85106"/>
                  <a:pt x="6506" y="92765"/>
                  <a:pt x="14096" y="92765"/>
                </a:cubicBezTo>
                <a:cubicBezTo>
                  <a:pt x="55301" y="92765"/>
                  <a:pt x="55301" y="92765"/>
                  <a:pt x="55301" y="92765"/>
                </a:cubicBezTo>
                <a:cubicBezTo>
                  <a:pt x="62891" y="92765"/>
                  <a:pt x="69036" y="100000"/>
                  <a:pt x="69036" y="108936"/>
                </a:cubicBezTo>
                <a:cubicBezTo>
                  <a:pt x="69036" y="108936"/>
                  <a:pt x="69036" y="108936"/>
                  <a:pt x="69036" y="108936"/>
                </a:cubicBezTo>
                <a:cubicBezTo>
                  <a:pt x="69036" y="117872"/>
                  <a:pt x="73734" y="120000"/>
                  <a:pt x="79156" y="113617"/>
                </a:cubicBezTo>
                <a:lnTo>
                  <a:pt x="114578" y="71489"/>
                </a:lnTo>
                <a:close/>
              </a:path>
            </a:pathLst>
          </a:custGeom>
          <a:solidFill>
            <a:srgbClr val="0F51A9"/>
          </a:solidFill>
          <a:ln>
            <a:noFill/>
          </a:ln>
          <a:effectLst/>
        </p:spPr>
        <p:txBody>
          <a:bodyPr lIns="60925" tIns="30454" rIns="60925" bIns="30454" anchor="t" anchorCtr="0">
            <a:noAutofit/>
          </a:bodyPr>
          <a:lstStyle/>
          <a:p>
            <a:pPr marL="0" marR="0" lvl="0" indent="0" algn="just" defTabSz="91421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272727"/>
              </a:solidFill>
              <a:effectLst/>
              <a:uLnTx/>
              <a:uFillTx/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  <a:sym typeface="Arial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A05E87AD-2595-6166-77BE-EEB32A81FE79}"/>
              </a:ext>
            </a:extLst>
          </p:cNvPr>
          <p:cNvSpPr txBox="1"/>
          <p:nvPr/>
        </p:nvSpPr>
        <p:spPr>
          <a:xfrm>
            <a:off x="2786980" y="3721147"/>
            <a:ext cx="464611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sym typeface="Arial"/>
              </a:rPr>
              <a:t>The quickest path to ending AIDS</a:t>
            </a:r>
          </a:p>
          <a:p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BF657589-583C-7268-E1CC-CA13097F3863}"/>
              </a:ext>
            </a:extLst>
          </p:cNvPr>
          <p:cNvSpPr txBox="1"/>
          <p:nvPr/>
        </p:nvSpPr>
        <p:spPr>
          <a:xfrm>
            <a:off x="319596" y="788708"/>
            <a:ext cx="6715667" cy="1200329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sym typeface="Arial"/>
              </a:rPr>
              <a:t>So many </a:t>
            </a:r>
            <a:r>
              <a:rPr lang="en-US" sz="2400" b="1" kern="0" dirty="0">
                <a:solidFill>
                  <a:srgbClr val="00B0F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sym typeface="Arial"/>
              </a:rPr>
              <a:t>paths but perhaps in line with current realities, we should be looking at t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sym typeface="Arial"/>
              </a:rPr>
              <a:t>he quickest and most sustainable path to ending AIDS</a:t>
            </a:r>
            <a:endParaRPr lang="en-US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70939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XVvCNHX0hPP2TmELkTJA"/>
</p:tagLst>
</file>

<file path=ppt/theme/theme1.xml><?xml version="1.0" encoding="utf-8"?>
<a:theme xmlns:a="http://schemas.openxmlformats.org/drawingml/2006/main" name="5_Office Theme">
  <a:themeElements>
    <a:clrScheme name="2020 Reflective">
      <a:dk1>
        <a:sysClr val="windowText" lastClr="000000"/>
      </a:dk1>
      <a:lt1>
        <a:srgbClr val="FFFFFF"/>
      </a:lt1>
      <a:dk2>
        <a:srgbClr val="00A99A"/>
      </a:dk2>
      <a:lt2>
        <a:srgbClr val="B8E1DD"/>
      </a:lt2>
      <a:accent1>
        <a:srgbClr val="70C8BE"/>
      </a:accent1>
      <a:accent2>
        <a:srgbClr val="E07E55"/>
      </a:accent2>
      <a:accent3>
        <a:srgbClr val="CDC884"/>
      </a:accent3>
      <a:accent4>
        <a:srgbClr val="B6AEA7"/>
      </a:accent4>
      <a:accent5>
        <a:srgbClr val="63CDF6"/>
      </a:accent5>
      <a:accent6>
        <a:srgbClr val="F26B73"/>
      </a:accent6>
      <a:hlink>
        <a:srgbClr val="0066FF"/>
      </a:hlink>
      <a:folHlink>
        <a:srgbClr val="08BCC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6_Office Theme">
  <a:themeElements>
    <a:clrScheme name="WHO PPT color scheme 2016">
      <a:dk1>
        <a:sysClr val="windowText" lastClr="000000"/>
      </a:dk1>
      <a:lt1>
        <a:sysClr val="window" lastClr="FFFFFF"/>
      </a:lt1>
      <a:dk2>
        <a:srgbClr val="009CDE"/>
      </a:dk2>
      <a:lt2>
        <a:srgbClr val="F3F3F3"/>
      </a:lt2>
      <a:accent1>
        <a:srgbClr val="009CDE"/>
      </a:accent1>
      <a:accent2>
        <a:srgbClr val="183C5C"/>
      </a:accent2>
      <a:accent3>
        <a:srgbClr val="66C4EB"/>
      </a:accent3>
      <a:accent4>
        <a:srgbClr val="9B9B9B"/>
      </a:accent4>
      <a:accent5>
        <a:srgbClr val="CCEBF8"/>
      </a:accent5>
      <a:accent6>
        <a:srgbClr val="C9C9C9"/>
      </a:accent6>
      <a:hlink>
        <a:srgbClr val="009CDE"/>
      </a:hlink>
      <a:folHlink>
        <a:srgbClr val="B2B2B2"/>
      </a:folHlink>
    </a:clrScheme>
    <a:fontScheme name="WHO Fonts PPT 2016">
      <a:majorFont>
        <a:latin typeface="Ebrima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WHO PPT color scheme 2016">
        <a:dk1>
          <a:sysClr val="windowText" lastClr="000000"/>
        </a:dk1>
        <a:lt1>
          <a:sysClr val="window" lastClr="FFFFFF"/>
        </a:lt1>
        <a:dk2>
          <a:srgbClr val="009CDE"/>
        </a:dk2>
        <a:lt2>
          <a:srgbClr val="F3F3F3"/>
        </a:lt2>
        <a:accent1>
          <a:srgbClr val="009CDE"/>
        </a:accent1>
        <a:accent2>
          <a:srgbClr val="183C5C"/>
        </a:accent2>
        <a:accent3>
          <a:srgbClr val="66C4EB"/>
        </a:accent3>
        <a:accent4>
          <a:srgbClr val="9B9B9B"/>
        </a:accent4>
        <a:accent5>
          <a:srgbClr val="CCEBF8"/>
        </a:accent5>
        <a:accent6>
          <a:srgbClr val="C9C9C9"/>
        </a:accent6>
        <a:hlink>
          <a:srgbClr val="009CDE"/>
        </a:hlink>
        <a:folHlink>
          <a:srgbClr val="B2B2B2"/>
        </a:folHlink>
      </a:clrScheme>
    </a:extraClrScheme>
  </a:extraClrSchemeLst>
  <a:custClrLst>
    <a:custClr name="WHO Blue">
      <a:srgbClr val="009CDE"/>
    </a:custClr>
    <a:custClr name="blank">
      <a:srgbClr val="FFFFFF"/>
    </a:custClr>
    <a:custClr name="blank">
      <a:srgbClr val="FFFFFF"/>
    </a:custClr>
    <a:custClr name="blank">
      <a:srgbClr val="FFFFFF"/>
    </a:custClr>
    <a:custClr name="WHO Indigo 01">
      <a:srgbClr val="09164D"/>
    </a:custClr>
    <a:custClr name="WHO Indigo 02">
      <a:srgbClr val="1A4164"/>
    </a:custClr>
    <a:custClr name="WHO Indigo 03">
      <a:srgbClr val="486783"/>
    </a:custClr>
    <a:custClr name="WHO Indigo 04">
      <a:srgbClr val="768DA2"/>
    </a:custClr>
    <a:custClr name="WHO Indigo 05">
      <a:srgbClr val="A3B3C1"/>
    </a:custClr>
    <a:custClr name="WHO Indigo 06">
      <a:srgbClr val="E8ECEF"/>
    </a:custClr>
    <a:custClr name="WHO Grey 01">
      <a:srgbClr val="9B9B9B"/>
    </a:custClr>
    <a:custClr name="WHO Grey 02">
      <a:srgbClr val="C9C9C9"/>
    </a:custClr>
    <a:custClr name="WHO Grey 03">
      <a:srgbClr val="F2F2F2"/>
    </a:custClr>
    <a:custClr name="blank">
      <a:srgbClr val="FFFFFF"/>
    </a:custClr>
    <a:custClr name="WHO Birchgreen 01">
      <a:srgbClr val="29811B"/>
    </a:custClr>
    <a:custClr name="WHO Birchgreen 02">
      <a:srgbClr val="7ABC32"/>
    </a:custClr>
    <a:custClr name="WHO Birchgreen 03">
      <a:srgbClr val="95C95B"/>
    </a:custClr>
    <a:custClr name="WHO Birchgreen 04">
      <a:srgbClr val="AFD784"/>
    </a:custClr>
    <a:custClr name="WHO Birchgreen 05">
      <a:srgbClr val="CAE4AD"/>
    </a:custClr>
    <a:custClr name="WHO Birchgreen 06">
      <a:srgbClr val="F2F8EA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WHO Savannah 01">
      <a:srgbClr val="966100"/>
    </a:custClr>
    <a:custClr name="WHO Savannah 02">
      <a:srgbClr val="AF8100"/>
    </a:custClr>
    <a:custClr name="WHO Savannah 03">
      <a:srgbClr val="BF9A33"/>
    </a:custClr>
    <a:custClr name="WHO Savannah 04">
      <a:srgbClr val="CFB366"/>
    </a:custClr>
    <a:custClr name="WHO Savannah 05">
      <a:srgbClr val="DFCD99"/>
    </a:custClr>
    <a:custClr name="WHO Savannah 06">
      <a:srgbClr val="F7F2E5"/>
    </a:custClr>
    <a:custClr name="WHO Purple 01">
      <a:srgbClr val="761302"/>
    </a:custClr>
    <a:custClr name="WHO Purple 02">
      <a:srgbClr val="8F3807"/>
    </a:custClr>
    <a:custClr name="WHO Purple 03">
      <a:srgbClr val="A56039"/>
    </a:custClr>
    <a:custClr name="blank">
      <a:srgbClr val="FFFFFF"/>
    </a:custClr>
    <a:custClr name="WHO Heat 01">
      <a:srgbClr val="B54606"/>
    </a:custClr>
    <a:custClr name="WHO Heat 02">
      <a:srgbClr val="D46112"/>
    </a:custClr>
    <a:custClr name="WHO Heat 03">
      <a:srgbClr val="DD8141"/>
    </a:custClr>
    <a:custClr name="WHO Heat 04">
      <a:srgbClr val="E5A071"/>
    </a:custClr>
    <a:custClr name="WHO Heat 05">
      <a:srgbClr val="EEC0A0"/>
    </a:custClr>
    <a:custClr name="WHO Heat 06">
      <a:srgbClr val="FBEFE7"/>
    </a:custClr>
    <a:custClr name="WHO Purple 04">
      <a:srgbClr val="BC886A"/>
    </a:custClr>
    <a:custClr name="WHO Purple 05">
      <a:srgbClr val="D2AF9C"/>
    </a:custClr>
    <a:custClr name="WHO Purple 06">
      <a:srgbClr val="F4EBE6"/>
    </a:custClr>
    <a:custClr name="blank">
      <a:srgbClr val="FFFFFF"/>
    </a:custClr>
    <a:custClr name="WHO Wood 01">
      <a:srgbClr val="20521A"/>
    </a:custClr>
    <a:custClr name="WHO Wood 02">
      <a:srgbClr val="2F7D4F"/>
    </a:custClr>
    <a:custClr name="WHO Wood 03">
      <a:srgbClr val="599772"/>
    </a:custClr>
    <a:custClr name="WHO Wood 04">
      <a:srgbClr val="82B195"/>
    </a:custClr>
    <a:custClr name="WHO Wood 05">
      <a:srgbClr val="ACCBB9"/>
    </a:custClr>
    <a:custClr name="WHO Wood 06">
      <a:srgbClr val="EAF2ED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Office Theme">
  <a:themeElements>
    <a:clrScheme name="Jetfabrik - Coloured 17 - Light">
      <a:dk1>
        <a:srgbClr val="737572"/>
      </a:dk1>
      <a:lt1>
        <a:sysClr val="window" lastClr="FFFFFF"/>
      </a:lt1>
      <a:dk2>
        <a:srgbClr val="445469"/>
      </a:dk2>
      <a:lt2>
        <a:srgbClr val="FFFFFF"/>
      </a:lt2>
      <a:accent1>
        <a:srgbClr val="0E80C9"/>
      </a:accent1>
      <a:accent2>
        <a:srgbClr val="119CF4"/>
      </a:accent2>
      <a:accent3>
        <a:srgbClr val="445469"/>
      </a:accent3>
      <a:accent4>
        <a:srgbClr val="8AC153"/>
      </a:accent4>
      <a:accent5>
        <a:srgbClr val="BAEF69"/>
      </a:accent5>
      <a:accent6>
        <a:srgbClr val="A9A8AB"/>
      </a:accent6>
      <a:hlink>
        <a:srgbClr val="0E80C9"/>
      </a:hlink>
      <a:folHlink>
        <a:srgbClr val="0EA3FF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12.xml><?xml version="1.0" encoding="utf-8"?>
<a:theme xmlns:a="http://schemas.openxmlformats.org/drawingml/2006/main" name="1_Default Theme">
  <a:themeElements>
    <a:clrScheme name="Chart Templates - S1">
      <a:dk1>
        <a:srgbClr val="747993"/>
      </a:dk1>
      <a:lt1>
        <a:srgbClr val="FFFFFF"/>
      </a:lt1>
      <a:dk2>
        <a:srgbClr val="111340"/>
      </a:dk2>
      <a:lt2>
        <a:srgbClr val="FFFFFF"/>
      </a:lt2>
      <a:accent1>
        <a:srgbClr val="07B9AC"/>
      </a:accent1>
      <a:accent2>
        <a:srgbClr val="3C82EF"/>
      </a:accent2>
      <a:accent3>
        <a:srgbClr val="6651FF"/>
      </a:accent3>
      <a:accent4>
        <a:srgbClr val="915CD6"/>
      </a:accent4>
      <a:accent5>
        <a:srgbClr val="FF6D3A"/>
      </a:accent5>
      <a:accent6>
        <a:srgbClr val="FFB93E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rgbClr val="6FBFFF"/>
            </a:gs>
            <a:gs pos="98000">
              <a:srgbClr val="3C8BFF"/>
            </a:gs>
          </a:gsLst>
          <a:lin ang="5400000" scaled="1"/>
          <a:tileRect/>
        </a:gra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1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Default Theme">
  <a:themeElements>
    <a:clrScheme name="IGPIA - Theme 12 - Light">
      <a:dk1>
        <a:srgbClr val="737572"/>
      </a:dk1>
      <a:lt1>
        <a:srgbClr val="FFFFFF"/>
      </a:lt1>
      <a:dk2>
        <a:srgbClr val="445469"/>
      </a:dk2>
      <a:lt2>
        <a:srgbClr val="FFFFFF"/>
      </a:lt2>
      <a:accent1>
        <a:srgbClr val="5DCEDB"/>
      </a:accent1>
      <a:accent2>
        <a:srgbClr val="5ECB95"/>
      </a:accent2>
      <a:accent3>
        <a:srgbClr val="F0D065"/>
      </a:accent3>
      <a:accent4>
        <a:srgbClr val="EC9F56"/>
      </a:accent4>
      <a:accent5>
        <a:srgbClr val="DC653D"/>
      </a:accent5>
      <a:accent6>
        <a:srgbClr val="CAC9D0"/>
      </a:accent6>
      <a:hlink>
        <a:srgbClr val="216BA9"/>
      </a:hlink>
      <a:folHlink>
        <a:srgbClr val="1FB18A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rgbClr val="6FBFFF"/>
            </a:gs>
            <a:gs pos="98000">
              <a:srgbClr val="3C8BFF"/>
            </a:gs>
          </a:gsLst>
          <a:lin ang="5400000" scaled="1"/>
          <a:tileRect/>
        </a:gra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1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8_Office Theme">
  <a:themeElements>
    <a:clrScheme name="Green Yellow">
      <a:dk1>
        <a:sysClr val="windowText" lastClr="000000"/>
      </a:dk1>
      <a:lt1>
        <a:sysClr val="window" lastClr="FFFFFF"/>
      </a:lt1>
      <a:dk2>
        <a:srgbClr val="455F51"/>
      </a:dk2>
      <a:lt2>
        <a:srgbClr val="E2DFCC"/>
      </a:lt2>
      <a:accent1>
        <a:srgbClr val="99CB38"/>
      </a:accent1>
      <a:accent2>
        <a:srgbClr val="63A537"/>
      </a:accent2>
      <a:accent3>
        <a:srgbClr val="37A76F"/>
      </a:accent3>
      <a:accent4>
        <a:srgbClr val="44C1A3"/>
      </a:accent4>
      <a:accent5>
        <a:srgbClr val="4EB3CF"/>
      </a:accent5>
      <a:accent6>
        <a:srgbClr val="51C3F9"/>
      </a:accent6>
      <a:hlink>
        <a:srgbClr val="EE7B08"/>
      </a:hlink>
      <a:folHlink>
        <a:srgbClr val="977B2D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4_Office Theme">
  <a:themeElements>
    <a:clrScheme name="2020 Reflective">
      <a:dk1>
        <a:sysClr val="windowText" lastClr="000000"/>
      </a:dk1>
      <a:lt1>
        <a:srgbClr val="FFFFFF"/>
      </a:lt1>
      <a:dk2>
        <a:srgbClr val="00A99A"/>
      </a:dk2>
      <a:lt2>
        <a:srgbClr val="B8E1DD"/>
      </a:lt2>
      <a:accent1>
        <a:srgbClr val="70C8BE"/>
      </a:accent1>
      <a:accent2>
        <a:srgbClr val="E07E55"/>
      </a:accent2>
      <a:accent3>
        <a:srgbClr val="CDC884"/>
      </a:accent3>
      <a:accent4>
        <a:srgbClr val="B6AEA7"/>
      </a:accent4>
      <a:accent5>
        <a:srgbClr val="63CDF6"/>
      </a:accent5>
      <a:accent6>
        <a:srgbClr val="F26B73"/>
      </a:accent6>
      <a:hlink>
        <a:srgbClr val="0066FF"/>
      </a:hlink>
      <a:folHlink>
        <a:srgbClr val="08BCC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 Theme">
  <a:themeElements>
    <a:clrScheme name="2020 Reflective">
      <a:dk1>
        <a:sysClr val="windowText" lastClr="000000"/>
      </a:dk1>
      <a:lt1>
        <a:srgbClr val="FFFFFF"/>
      </a:lt1>
      <a:dk2>
        <a:srgbClr val="00A99A"/>
      </a:dk2>
      <a:lt2>
        <a:srgbClr val="B8E1DD"/>
      </a:lt2>
      <a:accent1>
        <a:srgbClr val="70C8BE"/>
      </a:accent1>
      <a:accent2>
        <a:srgbClr val="E07E55"/>
      </a:accent2>
      <a:accent3>
        <a:srgbClr val="CDC884"/>
      </a:accent3>
      <a:accent4>
        <a:srgbClr val="B6AEA7"/>
      </a:accent4>
      <a:accent5>
        <a:srgbClr val="63CDF6"/>
      </a:accent5>
      <a:accent6>
        <a:srgbClr val="F26B73"/>
      </a:accent6>
      <a:hlink>
        <a:srgbClr val="0066FF"/>
      </a:hlink>
      <a:folHlink>
        <a:srgbClr val="08BCC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Office Theme">
  <a:themeElements>
    <a:clrScheme name="2020 Reflective">
      <a:dk1>
        <a:sysClr val="windowText" lastClr="000000"/>
      </a:dk1>
      <a:lt1>
        <a:srgbClr val="FFFFFF"/>
      </a:lt1>
      <a:dk2>
        <a:srgbClr val="00A99A"/>
      </a:dk2>
      <a:lt2>
        <a:srgbClr val="B8E1DD"/>
      </a:lt2>
      <a:accent1>
        <a:srgbClr val="70C8BE"/>
      </a:accent1>
      <a:accent2>
        <a:srgbClr val="E07E55"/>
      </a:accent2>
      <a:accent3>
        <a:srgbClr val="CDC884"/>
      </a:accent3>
      <a:accent4>
        <a:srgbClr val="B6AEA7"/>
      </a:accent4>
      <a:accent5>
        <a:srgbClr val="63CDF6"/>
      </a:accent5>
      <a:accent6>
        <a:srgbClr val="F26B73"/>
      </a:accent6>
      <a:hlink>
        <a:srgbClr val="0066FF"/>
      </a:hlink>
      <a:folHlink>
        <a:srgbClr val="08BCC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Office Theme">
  <a:themeElements>
    <a:clrScheme name="2020 Reflective">
      <a:dk1>
        <a:sysClr val="windowText" lastClr="000000"/>
      </a:dk1>
      <a:lt1>
        <a:srgbClr val="FFFFFF"/>
      </a:lt1>
      <a:dk2>
        <a:srgbClr val="00A99A"/>
      </a:dk2>
      <a:lt2>
        <a:srgbClr val="B8E1DD"/>
      </a:lt2>
      <a:accent1>
        <a:srgbClr val="70C8BE"/>
      </a:accent1>
      <a:accent2>
        <a:srgbClr val="E07E55"/>
      </a:accent2>
      <a:accent3>
        <a:srgbClr val="CDC884"/>
      </a:accent3>
      <a:accent4>
        <a:srgbClr val="B6AEA7"/>
      </a:accent4>
      <a:accent5>
        <a:srgbClr val="63CDF6"/>
      </a:accent5>
      <a:accent6>
        <a:srgbClr val="F26B73"/>
      </a:accent6>
      <a:hlink>
        <a:srgbClr val="0066FF"/>
      </a:hlink>
      <a:folHlink>
        <a:srgbClr val="08BCC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_Office Theme">
  <a:themeElements>
    <a:clrScheme name="2020 Reflective">
      <a:dk1>
        <a:sysClr val="windowText" lastClr="000000"/>
      </a:dk1>
      <a:lt1>
        <a:srgbClr val="FFFFFF"/>
      </a:lt1>
      <a:dk2>
        <a:srgbClr val="00A99A"/>
      </a:dk2>
      <a:lt2>
        <a:srgbClr val="B8E1DD"/>
      </a:lt2>
      <a:accent1>
        <a:srgbClr val="70C8BE"/>
      </a:accent1>
      <a:accent2>
        <a:srgbClr val="E07E55"/>
      </a:accent2>
      <a:accent3>
        <a:srgbClr val="CDC884"/>
      </a:accent3>
      <a:accent4>
        <a:srgbClr val="B6AEA7"/>
      </a:accent4>
      <a:accent5>
        <a:srgbClr val="63CDF6"/>
      </a:accent5>
      <a:accent6>
        <a:srgbClr val="F26B73"/>
      </a:accent6>
      <a:hlink>
        <a:srgbClr val="0066FF"/>
      </a:hlink>
      <a:folHlink>
        <a:srgbClr val="08BCC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master">
  <a:themeElements>
    <a:clrScheme name="master 2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FBDF53"/>
      </a:accent1>
      <a:accent2>
        <a:srgbClr val="FF9966"/>
      </a:accent2>
      <a:accent3>
        <a:srgbClr val="FFFFFF"/>
      </a:accent3>
      <a:accent4>
        <a:srgbClr val="000000"/>
      </a:accent4>
      <a:accent5>
        <a:srgbClr val="FDECB3"/>
      </a:accent5>
      <a:accent6>
        <a:srgbClr val="E78A5C"/>
      </a:accent6>
      <a:hlink>
        <a:srgbClr val="CC3300"/>
      </a:hlink>
      <a:folHlink>
        <a:srgbClr val="996600"/>
      </a:folHlink>
    </a:clrScheme>
    <a:fontScheme name="master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1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3900" b="1" i="0" u="none" strike="noStrike" cap="none" normalizeH="0" baseline="0" smtClean="0">
            <a:ln>
              <a:noFill/>
            </a:ln>
            <a:solidFill>
              <a:srgbClr val="000066"/>
            </a:solidFill>
            <a:effectLst/>
            <a:latin typeface="Arial" panose="020B0604020202020204" pitchFamily="34" charset="0"/>
            <a:cs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1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3900" b="1" i="0" u="none" strike="noStrike" cap="none" normalizeH="0" baseline="0" smtClean="0">
            <a:ln>
              <a:noFill/>
            </a:ln>
            <a:solidFill>
              <a:srgbClr val="000066"/>
            </a:solidFill>
            <a:effectLst/>
            <a:latin typeface="Arial" panose="020B0604020202020204" pitchFamily="34" charset="0"/>
            <a:cs typeface="Arial" panose="020B0604020202020204" pitchFamily="34" charset="0"/>
          </a:defRPr>
        </a:defPPr>
      </a:lstStyle>
    </a:lnDef>
  </a:objectDefaults>
  <a:extraClrSchemeLst>
    <a:extraClrScheme>
      <a:clrScheme name="mast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1_master">
  <a:themeElements>
    <a:clrScheme name="master 2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FBDF53"/>
      </a:accent1>
      <a:accent2>
        <a:srgbClr val="FF9966"/>
      </a:accent2>
      <a:accent3>
        <a:srgbClr val="FFFFFF"/>
      </a:accent3>
      <a:accent4>
        <a:srgbClr val="000000"/>
      </a:accent4>
      <a:accent5>
        <a:srgbClr val="FDECB3"/>
      </a:accent5>
      <a:accent6>
        <a:srgbClr val="E78A5C"/>
      </a:accent6>
      <a:hlink>
        <a:srgbClr val="CC3300"/>
      </a:hlink>
      <a:folHlink>
        <a:srgbClr val="996600"/>
      </a:folHlink>
    </a:clrScheme>
    <a:fontScheme name="master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1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3900" b="1" i="0" u="none" strike="noStrike" cap="none" normalizeH="0" baseline="0" smtClean="0">
            <a:ln>
              <a:noFill/>
            </a:ln>
            <a:solidFill>
              <a:srgbClr val="000066"/>
            </a:solidFill>
            <a:effectLst/>
            <a:latin typeface="Arial" panose="020B0604020202020204" pitchFamily="34" charset="0"/>
            <a:cs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1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3900" b="1" i="0" u="none" strike="noStrike" cap="none" normalizeH="0" baseline="0" smtClean="0">
            <a:ln>
              <a:noFill/>
            </a:ln>
            <a:solidFill>
              <a:srgbClr val="000066"/>
            </a:solidFill>
            <a:effectLst/>
            <a:latin typeface="Arial" panose="020B0604020202020204" pitchFamily="34" charset="0"/>
            <a:cs typeface="Arial" panose="020B0604020202020204" pitchFamily="34" charset="0"/>
          </a:defRPr>
        </a:defPPr>
      </a:lstStyle>
    </a:lnDef>
  </a:objectDefaults>
  <a:extraClrSchemeLst>
    <a:extraClrScheme>
      <a:clrScheme name="mast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4_Custom Design">
  <a:themeElements>
    <a:clrScheme name="UNAIDS Global">
      <a:dk1>
        <a:sysClr val="windowText" lastClr="000000"/>
      </a:dk1>
      <a:lt1>
        <a:sysClr val="window" lastClr="FFFFFF"/>
      </a:lt1>
      <a:dk2>
        <a:srgbClr val="70C8BE"/>
      </a:dk2>
      <a:lt2>
        <a:srgbClr val="B6AEA7"/>
      </a:lt2>
      <a:accent1>
        <a:srgbClr val="70C8BE"/>
      </a:accent1>
      <a:accent2>
        <a:srgbClr val="F15B40"/>
      </a:accent2>
      <a:accent3>
        <a:srgbClr val="00A99A"/>
      </a:accent3>
      <a:accent4>
        <a:srgbClr val="78BCC1"/>
      </a:accent4>
      <a:accent5>
        <a:srgbClr val="78A7B7"/>
      </a:accent5>
      <a:accent6>
        <a:srgbClr val="CDC884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893E641F549574BB805BD9C73365D4F" ma:contentTypeVersion="12" ma:contentTypeDescription="Create a new document." ma:contentTypeScope="" ma:versionID="67c322b5bfab068b489e730f846bc278">
  <xsd:schema xmlns:xsd="http://www.w3.org/2001/XMLSchema" xmlns:xs="http://www.w3.org/2001/XMLSchema" xmlns:p="http://schemas.microsoft.com/office/2006/metadata/properties" xmlns:ns2="288ef829-98c5-46d1-83dc-c2ef7c814da2" xmlns:ns3="2ddeef39-65d3-4660-94f2-f063f949c57e" targetNamespace="http://schemas.microsoft.com/office/2006/metadata/properties" ma:root="true" ma:fieldsID="f68485d466c2b082b7cc05bd77c25e6f" ns2:_="" ns3:_="">
    <xsd:import namespace="288ef829-98c5-46d1-83dc-c2ef7c814da2"/>
    <xsd:import namespace="2ddeef39-65d3-4660-94f2-f063f949c57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88ef829-98c5-46d1-83dc-c2ef7c814da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deef39-65d3-4660-94f2-f063f949c57e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CFE1DFD-82D4-4106-9E06-65C56C7C078B}">
  <ds:schemaRefs>
    <ds:schemaRef ds:uri="288ef829-98c5-46d1-83dc-c2ef7c814da2"/>
    <ds:schemaRef ds:uri="2ddeef39-65d3-4660-94f2-f063f949c57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7616DC40-2FAC-4BB1-8A3E-70653678CD8F}">
  <ds:schemaRefs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288ef829-98c5-46d1-83dc-c2ef7c814da2"/>
    <ds:schemaRef ds:uri="http://purl.org/dc/terms/"/>
    <ds:schemaRef ds:uri="http://schemas.openxmlformats.org/package/2006/metadata/core-properties"/>
    <ds:schemaRef ds:uri="2ddeef39-65d3-4660-94f2-f063f949c57e"/>
    <ds:schemaRef ds:uri="http://www.w3.org/XML/1998/namespace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EC88EBB4-9627-4CE7-B2EC-F9E5F06D2A6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057</TotalTime>
  <Words>1298</Words>
  <Application>Microsoft Macintosh PowerPoint</Application>
  <PresentationFormat>Widescreen</PresentationFormat>
  <Paragraphs>149</Paragraphs>
  <Slides>13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17</vt:i4>
      </vt:variant>
      <vt:variant>
        <vt:lpstr>Theme</vt:lpstr>
      </vt:variant>
      <vt:variant>
        <vt:i4>1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47" baseType="lpstr">
      <vt:lpstr>Arial</vt:lpstr>
      <vt:lpstr>Arial Bold</vt:lpstr>
      <vt:lpstr>Arial Narrow</vt:lpstr>
      <vt:lpstr>AvenirLT-Black</vt:lpstr>
      <vt:lpstr>AvenirLTStd-Heavy</vt:lpstr>
      <vt:lpstr>Bebas Neue</vt:lpstr>
      <vt:lpstr>Calibri</vt:lpstr>
      <vt:lpstr>Calibri Light</vt:lpstr>
      <vt:lpstr>Ebrima</vt:lpstr>
      <vt:lpstr>Lato Light</vt:lpstr>
      <vt:lpstr>Museo Slab 100</vt:lpstr>
      <vt:lpstr>NexusSerifWebPro</vt:lpstr>
      <vt:lpstr>Poppins</vt:lpstr>
      <vt:lpstr>Poppins Light</vt:lpstr>
      <vt:lpstr>Poppins Medium</vt:lpstr>
      <vt:lpstr>Times New Roman</vt:lpstr>
      <vt:lpstr>Wingdings</vt:lpstr>
      <vt:lpstr>5_Office Theme</vt:lpstr>
      <vt:lpstr>4_Office Theme</vt:lpstr>
      <vt:lpstr>2_Office Theme</vt:lpstr>
      <vt:lpstr>1_Office Theme</vt:lpstr>
      <vt:lpstr>3_Office Theme</vt:lpstr>
      <vt:lpstr>1_Office Theme</vt:lpstr>
      <vt:lpstr>master</vt:lpstr>
      <vt:lpstr>1_master</vt:lpstr>
      <vt:lpstr>4_Custom Design</vt:lpstr>
      <vt:lpstr>6_Office Theme</vt:lpstr>
      <vt:lpstr>Office Theme</vt:lpstr>
      <vt:lpstr>1_Default Theme</vt:lpstr>
      <vt:lpstr>13_Office Theme</vt:lpstr>
      <vt:lpstr>Default Theme</vt:lpstr>
      <vt:lpstr>11_Office Theme</vt:lpstr>
      <vt:lpstr>8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ENHT Workplan 2023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MEYAN, Wole</dc:creator>
  <cp:lastModifiedBy>Review</cp:lastModifiedBy>
  <cp:revision>54</cp:revision>
  <cp:lastPrinted>2022-03-30T11:17:38Z</cp:lastPrinted>
  <dcterms:created xsi:type="dcterms:W3CDTF">2021-09-21T17:37:18Z</dcterms:created>
  <dcterms:modified xsi:type="dcterms:W3CDTF">2024-07-11T23:35:50Z</dcterms:modified>
</cp:coreProperties>
</file>